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sldIdLst>
    <p:sldId id="272" r:id="rId3"/>
    <p:sldId id="256" r:id="rId4"/>
    <p:sldId id="262" r:id="rId5"/>
    <p:sldId id="273" r:id="rId6"/>
    <p:sldId id="274" r:id="rId7"/>
    <p:sldId id="275" r:id="rId8"/>
    <p:sldId id="276" r:id="rId9"/>
    <p:sldId id="277" r:id="rId10"/>
    <p:sldId id="279" r:id="rId11"/>
    <p:sldId id="278" r:id="rId12"/>
    <p:sldId id="280" r:id="rId13"/>
    <p:sldId id="281" r:id="rId14"/>
    <p:sldId id="269" r:id="rId1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1D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58" autoAdjust="0"/>
    <p:restoredTop sz="94660"/>
  </p:normalViewPr>
  <p:slideViewPr>
    <p:cSldViewPr snapToGrid="0">
      <p:cViewPr varScale="1">
        <p:scale>
          <a:sx n="99" d="100"/>
          <a:sy n="99" d="100"/>
        </p:scale>
        <p:origin x="44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5F1B3-4516-4AB7-BC6E-08A95E6A6B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5BE0E4-7B8B-4C09-9489-2B0D59A4A6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ko-KR"/>
              <a:t>Click to edit Master subtitle style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7E968F-5254-475D-92AC-6F41EB0B1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1A2E39-614B-4A63-9875-5D24E1DA2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FC6D9B-AC6D-40B5-A6FB-AF47E9DC1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67894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860B8-CF3D-4B30-8A2A-8F3C70CEC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E39D03-7DED-4D8A-92DB-5117AD970B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3EC658-373F-47C5-B912-5CC1057BDE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DEF608-A7A1-41A4-BC2A-AE299DA28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18D7E9-75E1-479D-BC24-D7FA7F509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1608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937D164-B82B-4FA0-9A9C-6B17C374AD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BB2912-000A-4734-927D-A4D738C3024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5FA2A-1B30-4DD0-B39B-2C23FC45C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DEB677-29DE-4A3B-8A39-9ED536BC0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C564A5-B63B-4750-9B5E-CAF92FDC3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1375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AD403-A15F-4A2F-B050-AB874136E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588" y="1436921"/>
            <a:ext cx="5690680" cy="1517356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    </a:t>
            </a:r>
            <a:endParaRPr lang="ru-RU" dirty="0"/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5BB088E3-63C1-423F-A939-150B8E1F87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6259" y="5096662"/>
            <a:ext cx="4367531" cy="949829"/>
          </a:xfrm>
        </p:spPr>
        <p:txBody>
          <a:bodyPr>
            <a:noAutofit/>
          </a:bodyPr>
          <a:lstStyle>
            <a:lvl1pPr marL="0" indent="0" algn="l">
              <a:buNone/>
              <a:defRPr sz="2800" b="0" i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dirty="0"/>
              <a:t>Month</a:t>
            </a:r>
            <a:br>
              <a:rPr lang="en-US" dirty="0"/>
            </a:br>
            <a:r>
              <a:rPr lang="en-US" dirty="0"/>
              <a:t>20XX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7A7AFAC-3F6D-48D1-A100-148792529BC6}"/>
              </a:ext>
            </a:extLst>
          </p:cNvPr>
          <p:cNvSpPr/>
          <p:nvPr/>
        </p:nvSpPr>
        <p:spPr>
          <a:xfrm>
            <a:off x="8069104" y="5422164"/>
            <a:ext cx="736673" cy="736673"/>
          </a:xfrm>
          <a:custGeom>
            <a:avLst/>
            <a:gdLst>
              <a:gd name="connsiteX0" fmla="*/ 372146 w 736672"/>
              <a:gd name="connsiteY0" fmla="*/ 731592 h 736672"/>
              <a:gd name="connsiteX1" fmla="*/ 731592 w 736672"/>
              <a:gd name="connsiteY1" fmla="*/ 372147 h 736672"/>
              <a:gd name="connsiteX2" fmla="*/ 372146 w 736672"/>
              <a:gd name="connsiteY2" fmla="*/ 12701 h 736672"/>
              <a:gd name="connsiteX3" fmla="*/ 12701 w 736672"/>
              <a:gd name="connsiteY3" fmla="*/ 372147 h 736672"/>
              <a:gd name="connsiteX4" fmla="*/ 372146 w 736672"/>
              <a:gd name="connsiteY4" fmla="*/ 731592 h 73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6672" h="736672">
                <a:moveTo>
                  <a:pt x="372146" y="731592"/>
                </a:moveTo>
                <a:cubicBezTo>
                  <a:pt x="570286" y="731592"/>
                  <a:pt x="731592" y="570286"/>
                  <a:pt x="731592" y="372147"/>
                </a:cubicBezTo>
                <a:cubicBezTo>
                  <a:pt x="731592" y="174007"/>
                  <a:pt x="570286" y="12701"/>
                  <a:pt x="372146" y="12701"/>
                </a:cubicBezTo>
                <a:cubicBezTo>
                  <a:pt x="174007" y="12701"/>
                  <a:pt x="12701" y="174007"/>
                  <a:pt x="12701" y="372147"/>
                </a:cubicBezTo>
                <a:cubicBezTo>
                  <a:pt x="12701" y="570286"/>
                  <a:pt x="174007" y="731592"/>
                  <a:pt x="372146" y="731592"/>
                </a:cubicBezTo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1A4F88F-4E35-4BB3-AD24-CAC580C12F96}"/>
              </a:ext>
            </a:extLst>
          </p:cNvPr>
          <p:cNvSpPr/>
          <p:nvPr/>
        </p:nvSpPr>
        <p:spPr>
          <a:xfrm>
            <a:off x="9029960" y="3463631"/>
            <a:ext cx="3175313" cy="2946690"/>
          </a:xfrm>
          <a:custGeom>
            <a:avLst/>
            <a:gdLst>
              <a:gd name="connsiteX0" fmla="*/ 3162808 w 3175312"/>
              <a:gd name="connsiteY0" fmla="*/ 12701 h 2946690"/>
              <a:gd name="connsiteX1" fmla="*/ 487925 w 3175312"/>
              <a:gd name="connsiteY1" fmla="*/ 1331091 h 2946690"/>
              <a:gd name="connsiteX2" fmla="*/ 113238 w 3175312"/>
              <a:gd name="connsiteY2" fmla="*/ 2433559 h 2946690"/>
              <a:gd name="connsiteX3" fmla="*/ 127209 w 3175312"/>
              <a:gd name="connsiteY3" fmla="*/ 2461502 h 2946690"/>
              <a:gd name="connsiteX4" fmla="*/ 1229677 w 3175312"/>
              <a:gd name="connsiteY4" fmla="*/ 2836189 h 2946690"/>
              <a:gd name="connsiteX5" fmla="*/ 3162808 w 3175312"/>
              <a:gd name="connsiteY5" fmla="*/ 1882325 h 2946690"/>
              <a:gd name="connsiteX6" fmla="*/ 3162808 w 3175312"/>
              <a:gd name="connsiteY6" fmla="*/ 12701 h 29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75312" h="2946690">
                <a:moveTo>
                  <a:pt x="3162808" y="12701"/>
                </a:moveTo>
                <a:lnTo>
                  <a:pt x="487925" y="1331091"/>
                </a:lnTo>
                <a:cubicBezTo>
                  <a:pt x="487925" y="1331091"/>
                  <a:pt x="-250018" y="1695617"/>
                  <a:pt x="113238" y="2433559"/>
                </a:cubicBezTo>
                <a:lnTo>
                  <a:pt x="127209" y="2461502"/>
                </a:lnTo>
                <a:cubicBezTo>
                  <a:pt x="127209" y="2461502"/>
                  <a:pt x="491735" y="3199445"/>
                  <a:pt x="1229677" y="2836189"/>
                </a:cubicBezTo>
                <a:lnTo>
                  <a:pt x="3162808" y="1882325"/>
                </a:lnTo>
                <a:lnTo>
                  <a:pt x="3162808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2CE00E-F2AB-4099-8BB8-F109C4F2EFDB}"/>
              </a:ext>
            </a:extLst>
          </p:cNvPr>
          <p:cNvSpPr/>
          <p:nvPr/>
        </p:nvSpPr>
        <p:spPr>
          <a:xfrm>
            <a:off x="11043829" y="4566099"/>
            <a:ext cx="1155814" cy="863685"/>
          </a:xfrm>
          <a:custGeom>
            <a:avLst/>
            <a:gdLst>
              <a:gd name="connsiteX0" fmla="*/ 1148938 w 1155813"/>
              <a:gd name="connsiteY0" fmla="*/ 12701 h 863685"/>
              <a:gd name="connsiteX1" fmla="*/ 173482 w 1155813"/>
              <a:gd name="connsiteY1" fmla="*/ 494079 h 863685"/>
              <a:gd name="connsiteX2" fmla="*/ 28688 w 1155813"/>
              <a:gd name="connsiteY2" fmla="*/ 759535 h 863685"/>
              <a:gd name="connsiteX3" fmla="*/ 31228 w 1155813"/>
              <a:gd name="connsiteY3" fmla="*/ 765885 h 863685"/>
              <a:gd name="connsiteX4" fmla="*/ 329707 w 1155813"/>
              <a:gd name="connsiteY4" fmla="*/ 812880 h 863685"/>
              <a:gd name="connsiteX5" fmla="*/ 1147668 w 1155813"/>
              <a:gd name="connsiteY5" fmla="*/ 408980 h 863685"/>
              <a:gd name="connsiteX6" fmla="*/ 1147668 w 1155813"/>
              <a:gd name="connsiteY6" fmla="*/ 12701 h 863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5813" h="863685">
                <a:moveTo>
                  <a:pt x="1148938" y="12701"/>
                </a:moveTo>
                <a:lnTo>
                  <a:pt x="173482" y="494079"/>
                </a:lnTo>
                <a:cubicBezTo>
                  <a:pt x="173482" y="494079"/>
                  <a:pt x="-47520" y="603309"/>
                  <a:pt x="28688" y="759535"/>
                </a:cubicBezTo>
                <a:lnTo>
                  <a:pt x="31228" y="765885"/>
                </a:lnTo>
                <a:cubicBezTo>
                  <a:pt x="31228" y="765885"/>
                  <a:pt x="108705" y="922111"/>
                  <a:pt x="329707" y="812880"/>
                </a:cubicBezTo>
                <a:lnTo>
                  <a:pt x="1147668" y="408980"/>
                </a:lnTo>
                <a:lnTo>
                  <a:pt x="1147668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0920EEC-7CE3-4708-93D2-53699D17E5E3}"/>
              </a:ext>
            </a:extLst>
          </p:cNvPr>
          <p:cNvSpPr/>
          <p:nvPr/>
        </p:nvSpPr>
        <p:spPr>
          <a:xfrm>
            <a:off x="10743661" y="-1689"/>
            <a:ext cx="1447943" cy="1003399"/>
          </a:xfrm>
          <a:custGeom>
            <a:avLst/>
            <a:gdLst>
              <a:gd name="connsiteX0" fmla="*/ 1446147 w 1447942"/>
              <a:gd name="connsiteY0" fmla="*/ 12701 h 1003398"/>
              <a:gd name="connsiteX1" fmla="*/ 173482 w 1447942"/>
              <a:gd name="connsiteY1" fmla="*/ 640143 h 1003398"/>
              <a:gd name="connsiteX2" fmla="*/ 28688 w 1447942"/>
              <a:gd name="connsiteY2" fmla="*/ 905599 h 1003398"/>
              <a:gd name="connsiteX3" fmla="*/ 31227 w 1447942"/>
              <a:gd name="connsiteY3" fmla="*/ 911950 h 1003398"/>
              <a:gd name="connsiteX4" fmla="*/ 329707 w 1447942"/>
              <a:gd name="connsiteY4" fmla="*/ 958944 h 1003398"/>
              <a:gd name="connsiteX5" fmla="*/ 1446147 w 1447942"/>
              <a:gd name="connsiteY5" fmla="*/ 408980 h 1003398"/>
              <a:gd name="connsiteX6" fmla="*/ 1446147 w 1447942"/>
              <a:gd name="connsiteY6" fmla="*/ 12701 h 100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47942" h="1003398">
                <a:moveTo>
                  <a:pt x="1446147" y="12701"/>
                </a:moveTo>
                <a:lnTo>
                  <a:pt x="173482" y="640143"/>
                </a:lnTo>
                <a:cubicBezTo>
                  <a:pt x="173482" y="640143"/>
                  <a:pt x="-47520" y="749374"/>
                  <a:pt x="28688" y="905599"/>
                </a:cubicBezTo>
                <a:lnTo>
                  <a:pt x="31227" y="911950"/>
                </a:lnTo>
                <a:cubicBezTo>
                  <a:pt x="31227" y="911950"/>
                  <a:pt x="108705" y="1068175"/>
                  <a:pt x="329707" y="958944"/>
                </a:cubicBezTo>
                <a:lnTo>
                  <a:pt x="1446147" y="408980"/>
                </a:lnTo>
                <a:lnTo>
                  <a:pt x="1446147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DF8B751-9294-46D5-B390-5D322195540F}"/>
              </a:ext>
            </a:extLst>
          </p:cNvPr>
          <p:cNvSpPr/>
          <p:nvPr/>
        </p:nvSpPr>
        <p:spPr>
          <a:xfrm>
            <a:off x="6536780" y="-12701"/>
            <a:ext cx="4978890" cy="2133810"/>
          </a:xfrm>
          <a:custGeom>
            <a:avLst/>
            <a:gdLst>
              <a:gd name="connsiteX0" fmla="*/ 2515401 w 4978890"/>
              <a:gd name="connsiteY0" fmla="*/ 12701 h 2133810"/>
              <a:gd name="connsiteX1" fmla="*/ 371430 w 4978890"/>
              <a:gd name="connsiteY1" fmla="*/ 1069445 h 2133810"/>
              <a:gd name="connsiteX2" fmla="*/ 72951 w 4978890"/>
              <a:gd name="connsiteY2" fmla="*/ 1811198 h 2133810"/>
              <a:gd name="connsiteX3" fmla="*/ 81841 w 4978890"/>
              <a:gd name="connsiteY3" fmla="*/ 1828980 h 2133810"/>
              <a:gd name="connsiteX4" fmla="*/ 851538 w 4978890"/>
              <a:gd name="connsiteY4" fmla="*/ 2043631 h 2133810"/>
              <a:gd name="connsiteX5" fmla="*/ 4968013 w 4978890"/>
              <a:gd name="connsiteY5" fmla="*/ 12701 h 2133810"/>
              <a:gd name="connsiteX6" fmla="*/ 2515401 w 4978890"/>
              <a:gd name="connsiteY6" fmla="*/ 12701 h 2133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78890" h="2133810">
                <a:moveTo>
                  <a:pt x="2515401" y="12701"/>
                </a:moveTo>
                <a:lnTo>
                  <a:pt x="371430" y="1069445"/>
                </a:lnTo>
                <a:cubicBezTo>
                  <a:pt x="371430" y="1069445"/>
                  <a:pt x="-163293" y="1333631"/>
                  <a:pt x="72951" y="1811198"/>
                </a:cubicBezTo>
                <a:lnTo>
                  <a:pt x="81841" y="1828980"/>
                </a:lnTo>
                <a:cubicBezTo>
                  <a:pt x="81841" y="1828980"/>
                  <a:pt x="316814" y="2306547"/>
                  <a:pt x="851538" y="2043631"/>
                </a:cubicBezTo>
                <a:lnTo>
                  <a:pt x="4968013" y="12701"/>
                </a:lnTo>
                <a:lnTo>
                  <a:pt x="2515401" y="1270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0F651C6-BE74-4133-ABA8-316072D4F5B5}"/>
              </a:ext>
            </a:extLst>
          </p:cNvPr>
          <p:cNvSpPr/>
          <p:nvPr/>
        </p:nvSpPr>
        <p:spPr>
          <a:xfrm>
            <a:off x="6518963" y="-12701"/>
            <a:ext cx="5029695" cy="2146511"/>
          </a:xfrm>
          <a:custGeom>
            <a:avLst/>
            <a:gdLst>
              <a:gd name="connsiteX0" fmla="*/ 4942646 w 5029695"/>
              <a:gd name="connsiteY0" fmla="*/ 12701 h 2146511"/>
              <a:gd name="connsiteX1" fmla="*/ 860464 w 5029695"/>
              <a:gd name="connsiteY1" fmla="*/ 2025849 h 2146511"/>
              <a:gd name="connsiteX2" fmla="*/ 295258 w 5029695"/>
              <a:gd name="connsiteY2" fmla="*/ 2019499 h 2146511"/>
              <a:gd name="connsiteX3" fmla="*/ 116171 w 5029695"/>
              <a:gd name="connsiteY3" fmla="*/ 1820089 h 2146511"/>
              <a:gd name="connsiteX4" fmla="*/ 107280 w 5029695"/>
              <a:gd name="connsiteY4" fmla="*/ 1802307 h 2146511"/>
              <a:gd name="connsiteX5" fmla="*/ 165705 w 5029695"/>
              <a:gd name="connsiteY5" fmla="*/ 1273935 h 2146511"/>
              <a:gd name="connsiteX6" fmla="*/ 398138 w 5029695"/>
              <a:gd name="connsiteY6" fmla="*/ 1085957 h 2146511"/>
              <a:gd name="connsiteX7" fmla="*/ 2576402 w 5029695"/>
              <a:gd name="connsiteY7" fmla="*/ 12701 h 2146511"/>
              <a:gd name="connsiteX8" fmla="*/ 2490034 w 5029695"/>
              <a:gd name="connsiteY8" fmla="*/ 12701 h 2146511"/>
              <a:gd name="connsiteX9" fmla="*/ 381626 w 5029695"/>
              <a:gd name="connsiteY9" fmla="*/ 1052934 h 2146511"/>
              <a:gd name="connsiteX10" fmla="*/ 137762 w 5029695"/>
              <a:gd name="connsiteY10" fmla="*/ 1249803 h 2146511"/>
              <a:gd name="connsiteX11" fmla="*/ 74256 w 5029695"/>
              <a:gd name="connsiteY11" fmla="*/ 1820089 h 2146511"/>
              <a:gd name="connsiteX12" fmla="*/ 83147 w 5029695"/>
              <a:gd name="connsiteY12" fmla="*/ 1837871 h 2146511"/>
              <a:gd name="connsiteX13" fmla="*/ 273666 w 5029695"/>
              <a:gd name="connsiteY13" fmla="*/ 2051252 h 2146511"/>
              <a:gd name="connsiteX14" fmla="*/ 564525 w 5029695"/>
              <a:gd name="connsiteY14" fmla="*/ 2141431 h 2146511"/>
              <a:gd name="connsiteX15" fmla="*/ 878246 w 5029695"/>
              <a:gd name="connsiteY15" fmla="*/ 2060143 h 2146511"/>
              <a:gd name="connsiteX16" fmla="*/ 5029014 w 5029695"/>
              <a:gd name="connsiteY16" fmla="*/ 12701 h 2146511"/>
              <a:gd name="connsiteX17" fmla="*/ 4942646 w 5029695"/>
              <a:gd name="connsiteY17" fmla="*/ 12701 h 2146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029695" h="2146511">
                <a:moveTo>
                  <a:pt x="4942646" y="12701"/>
                </a:moveTo>
                <a:lnTo>
                  <a:pt x="860464" y="2025849"/>
                </a:lnTo>
                <a:cubicBezTo>
                  <a:pt x="645812" y="2131270"/>
                  <a:pt x="456564" y="2130000"/>
                  <a:pt x="295258" y="2019499"/>
                </a:cubicBezTo>
                <a:cubicBezTo>
                  <a:pt x="174596" y="1936941"/>
                  <a:pt x="116171" y="1821359"/>
                  <a:pt x="116171" y="1820089"/>
                </a:cubicBezTo>
                <a:lnTo>
                  <a:pt x="107280" y="1802307"/>
                </a:lnTo>
                <a:cubicBezTo>
                  <a:pt x="13290" y="1611789"/>
                  <a:pt x="32342" y="1433971"/>
                  <a:pt x="165705" y="1273935"/>
                </a:cubicBezTo>
                <a:cubicBezTo>
                  <a:pt x="266045" y="1153274"/>
                  <a:pt x="395598" y="1087227"/>
                  <a:pt x="398138" y="1085957"/>
                </a:cubicBezTo>
                <a:lnTo>
                  <a:pt x="2576402" y="12701"/>
                </a:lnTo>
                <a:lnTo>
                  <a:pt x="2490034" y="12701"/>
                </a:lnTo>
                <a:lnTo>
                  <a:pt x="381626" y="1052934"/>
                </a:lnTo>
                <a:cubicBezTo>
                  <a:pt x="376546" y="1055474"/>
                  <a:pt x="243183" y="1121520"/>
                  <a:pt x="137762" y="1249803"/>
                </a:cubicBezTo>
                <a:cubicBezTo>
                  <a:pt x="38693" y="1369195"/>
                  <a:pt x="-51486" y="1564794"/>
                  <a:pt x="74256" y="1820089"/>
                </a:cubicBezTo>
                <a:lnTo>
                  <a:pt x="83147" y="1837871"/>
                </a:lnTo>
                <a:cubicBezTo>
                  <a:pt x="85687" y="1842952"/>
                  <a:pt x="145383" y="1962343"/>
                  <a:pt x="273666" y="2051252"/>
                </a:cubicBezTo>
                <a:cubicBezTo>
                  <a:pt x="342253" y="2098247"/>
                  <a:pt x="440053" y="2141431"/>
                  <a:pt x="564525" y="2141431"/>
                </a:cubicBezTo>
                <a:cubicBezTo>
                  <a:pt x="654703" y="2141431"/>
                  <a:pt x="758854" y="2119839"/>
                  <a:pt x="878246" y="2060143"/>
                </a:cubicBezTo>
                <a:lnTo>
                  <a:pt x="5029014" y="12701"/>
                </a:lnTo>
                <a:lnTo>
                  <a:pt x="4942646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2A3D73F7-77EC-4576-B541-20C032F462D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86259" y="3425363"/>
            <a:ext cx="3629300" cy="949829"/>
          </a:xfrm>
        </p:spPr>
        <p:txBody>
          <a:bodyPr>
            <a:normAutofit/>
          </a:bodyPr>
          <a:lstStyle>
            <a:lvl1pPr marL="0" indent="0">
              <a:buNone/>
              <a:defRPr sz="2800" b="1" i="0"/>
            </a:lvl1pPr>
          </a:lstStyle>
          <a:p>
            <a:pPr lvl="0"/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agline</a:t>
            </a:r>
          </a:p>
        </p:txBody>
      </p:sp>
      <p:sp>
        <p:nvSpPr>
          <p:cNvPr id="40" name="Graphic 37">
            <a:extLst>
              <a:ext uri="{FF2B5EF4-FFF2-40B4-BE49-F238E27FC236}">
                <a16:creationId xmlns:a16="http://schemas.microsoft.com/office/drawing/2014/main" id="{9F75ED2D-7077-4753-B623-4B9A718EB224}"/>
              </a:ext>
            </a:extLst>
          </p:cNvPr>
          <p:cNvSpPr/>
          <p:nvPr userDrawn="1"/>
        </p:nvSpPr>
        <p:spPr>
          <a:xfrm>
            <a:off x="895717" y="3124629"/>
            <a:ext cx="2158296" cy="151200"/>
          </a:xfrm>
          <a:custGeom>
            <a:avLst/>
            <a:gdLst>
              <a:gd name="connsiteX0" fmla="*/ 2087180 w 2158295"/>
              <a:gd name="connsiteY0" fmla="*/ 153601 h 165045"/>
              <a:gd name="connsiteX1" fmla="*/ 82504 w 2158295"/>
              <a:gd name="connsiteY1" fmla="*/ 153601 h 165045"/>
              <a:gd name="connsiteX2" fmla="*/ 12677 w 2158295"/>
              <a:gd name="connsiteY2" fmla="*/ 83774 h 165045"/>
              <a:gd name="connsiteX3" fmla="*/ 12677 w 2158295"/>
              <a:gd name="connsiteY3" fmla="*/ 83774 h 165045"/>
              <a:gd name="connsiteX4" fmla="*/ 82504 w 2158295"/>
              <a:gd name="connsiteY4" fmla="*/ 12677 h 165045"/>
              <a:gd name="connsiteX5" fmla="*/ 2087180 w 2158295"/>
              <a:gd name="connsiteY5" fmla="*/ 12677 h 165045"/>
              <a:gd name="connsiteX6" fmla="*/ 2157008 w 2158295"/>
              <a:gd name="connsiteY6" fmla="*/ 82504 h 165045"/>
              <a:gd name="connsiteX7" fmla="*/ 2157008 w 2158295"/>
              <a:gd name="connsiteY7" fmla="*/ 82504 h 165045"/>
              <a:gd name="connsiteX8" fmla="*/ 2087180 w 2158295"/>
              <a:gd name="connsiteY8" fmla="*/ 153601 h 165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58295" h="165045">
                <a:moveTo>
                  <a:pt x="2087180" y="153601"/>
                </a:moveTo>
                <a:lnTo>
                  <a:pt x="82504" y="153601"/>
                </a:lnTo>
                <a:cubicBezTo>
                  <a:pt x="44417" y="153601"/>
                  <a:pt x="12677" y="121861"/>
                  <a:pt x="12677" y="83774"/>
                </a:cubicBezTo>
                <a:lnTo>
                  <a:pt x="12677" y="83774"/>
                </a:lnTo>
                <a:cubicBezTo>
                  <a:pt x="12677" y="44417"/>
                  <a:pt x="44417" y="12677"/>
                  <a:pt x="82504" y="12677"/>
                </a:cubicBezTo>
                <a:lnTo>
                  <a:pt x="2087180" y="12677"/>
                </a:lnTo>
                <a:cubicBezTo>
                  <a:pt x="2125268" y="12677"/>
                  <a:pt x="2157008" y="44417"/>
                  <a:pt x="2157008" y="82504"/>
                </a:cubicBezTo>
                <a:lnTo>
                  <a:pt x="2157008" y="82504"/>
                </a:lnTo>
                <a:cubicBezTo>
                  <a:pt x="2157008" y="121861"/>
                  <a:pt x="2126538" y="153601"/>
                  <a:pt x="2087180" y="15360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2681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2" name="Graphic 36">
            <a:extLst>
              <a:ext uri="{FF2B5EF4-FFF2-40B4-BE49-F238E27FC236}">
                <a16:creationId xmlns:a16="http://schemas.microsoft.com/office/drawing/2014/main" id="{21FF5BCF-BC53-4C3F-8B7F-7077B35ADCA8}"/>
              </a:ext>
            </a:extLst>
          </p:cNvPr>
          <p:cNvSpPr/>
          <p:nvPr userDrawn="1"/>
        </p:nvSpPr>
        <p:spPr>
          <a:xfrm>
            <a:off x="-7816" y="5057878"/>
            <a:ext cx="715108" cy="949829"/>
          </a:xfrm>
          <a:custGeom>
            <a:avLst/>
            <a:gdLst>
              <a:gd name="connsiteX0" fmla="*/ 217522 w 723600"/>
              <a:gd name="connsiteY0" fmla="*/ 9082 h 1015200"/>
              <a:gd name="connsiteX1" fmla="*/ 9082 w 723600"/>
              <a:gd name="connsiteY1" fmla="*/ 9082 h 1015200"/>
              <a:gd name="connsiteX2" fmla="*/ 9082 w 723600"/>
              <a:gd name="connsiteY2" fmla="*/ 1010242 h 1015200"/>
              <a:gd name="connsiteX3" fmla="*/ 217522 w 723600"/>
              <a:gd name="connsiteY3" fmla="*/ 1010242 h 1015200"/>
              <a:gd name="connsiteX4" fmla="*/ 716482 w 723600"/>
              <a:gd name="connsiteY4" fmla="*/ 518842 h 1015200"/>
              <a:gd name="connsiteX5" fmla="*/ 716482 w 723600"/>
              <a:gd name="connsiteY5" fmla="*/ 500482 h 1015200"/>
              <a:gd name="connsiteX6" fmla="*/ 217522 w 723600"/>
              <a:gd name="connsiteY6" fmla="*/ 9082 h 10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3600" h="1015200">
                <a:moveTo>
                  <a:pt x="217522" y="9082"/>
                </a:moveTo>
                <a:lnTo>
                  <a:pt x="9082" y="9082"/>
                </a:lnTo>
                <a:lnTo>
                  <a:pt x="9082" y="1010242"/>
                </a:lnTo>
                <a:lnTo>
                  <a:pt x="217522" y="1010242"/>
                </a:lnTo>
                <a:cubicBezTo>
                  <a:pt x="217522" y="1010242"/>
                  <a:pt x="716482" y="1010242"/>
                  <a:pt x="716482" y="518842"/>
                </a:cubicBezTo>
                <a:lnTo>
                  <a:pt x="716482" y="500482"/>
                </a:lnTo>
                <a:cubicBezTo>
                  <a:pt x="716482" y="500482"/>
                  <a:pt x="716482" y="9082"/>
                  <a:pt x="217522" y="9082"/>
                </a:cubicBezTo>
                <a:close/>
              </a:path>
            </a:pathLst>
          </a:custGeom>
          <a:solidFill>
            <a:schemeClr val="accent3"/>
          </a:solidFill>
          <a:ln w="106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C7B70A1-A813-470C-A829-7CC44559C94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14953" y="0"/>
            <a:ext cx="7585924" cy="5949573"/>
          </a:xfrm>
          <a:custGeom>
            <a:avLst/>
            <a:gdLst>
              <a:gd name="connsiteX0" fmla="*/ 6933229 w 7577047"/>
              <a:gd name="connsiteY0" fmla="*/ 0 h 5937736"/>
              <a:gd name="connsiteX1" fmla="*/ 7577047 w 7577047"/>
              <a:gd name="connsiteY1" fmla="*/ 0 h 5937736"/>
              <a:gd name="connsiteX2" fmla="*/ 6304235 w 7577047"/>
              <a:gd name="connsiteY2" fmla="*/ 626666 h 5937736"/>
              <a:gd name="connsiteX3" fmla="*/ 6159164 w 7577047"/>
              <a:gd name="connsiteY3" fmla="*/ 891545 h 5937736"/>
              <a:gd name="connsiteX4" fmla="*/ 6161282 w 7577047"/>
              <a:gd name="connsiteY4" fmla="*/ 898006 h 5937736"/>
              <a:gd name="connsiteX5" fmla="*/ 6459895 w 7577047"/>
              <a:gd name="connsiteY5" fmla="*/ 944306 h 5937736"/>
              <a:gd name="connsiteX6" fmla="*/ 7577047 w 7577047"/>
              <a:gd name="connsiteY6" fmla="*/ 395166 h 5937736"/>
              <a:gd name="connsiteX7" fmla="*/ 7577047 w 7577047"/>
              <a:gd name="connsiteY7" fmla="*/ 3249617 h 5937736"/>
              <a:gd name="connsiteX8" fmla="*/ 2564157 w 7577047"/>
              <a:gd name="connsiteY8" fmla="*/ 5723977 h 5937736"/>
              <a:gd name="connsiteX9" fmla="*/ 233491 w 7577047"/>
              <a:gd name="connsiteY9" fmla="*/ 4932570 h 5937736"/>
              <a:gd name="connsiteX10" fmla="*/ 213372 w 7577047"/>
              <a:gd name="connsiteY10" fmla="*/ 4891653 h 5937736"/>
              <a:gd name="connsiteX11" fmla="*/ 1004379 w 7577047"/>
              <a:gd name="connsiteY11" fmla="*/ 2559423 h 5937736"/>
              <a:gd name="connsiteX12" fmla="*/ 2132121 w 7577047"/>
              <a:gd name="connsiteY12" fmla="*/ 2002747 h 5937736"/>
              <a:gd name="connsiteX13" fmla="*/ 2176595 w 7577047"/>
              <a:gd name="connsiteY13" fmla="*/ 2037202 h 5937736"/>
              <a:gd name="connsiteX14" fmla="*/ 2467796 w 7577047"/>
              <a:gd name="connsiteY14" fmla="*/ 2127649 h 5937736"/>
              <a:gd name="connsiteX15" fmla="*/ 2781234 w 7577047"/>
              <a:gd name="connsiteY15" fmla="*/ 2046893 h 5937736"/>
              <a:gd name="connsiteX0" fmla="*/ 6948025 w 7577047"/>
              <a:gd name="connsiteY0" fmla="*/ 0 h 5949573"/>
              <a:gd name="connsiteX1" fmla="*/ 7577047 w 7577047"/>
              <a:gd name="connsiteY1" fmla="*/ 11837 h 5949573"/>
              <a:gd name="connsiteX2" fmla="*/ 6304235 w 7577047"/>
              <a:gd name="connsiteY2" fmla="*/ 638503 h 5949573"/>
              <a:gd name="connsiteX3" fmla="*/ 6159164 w 7577047"/>
              <a:gd name="connsiteY3" fmla="*/ 903382 h 5949573"/>
              <a:gd name="connsiteX4" fmla="*/ 6161282 w 7577047"/>
              <a:gd name="connsiteY4" fmla="*/ 909843 h 5949573"/>
              <a:gd name="connsiteX5" fmla="*/ 6459895 w 7577047"/>
              <a:gd name="connsiteY5" fmla="*/ 956143 h 5949573"/>
              <a:gd name="connsiteX6" fmla="*/ 7577047 w 7577047"/>
              <a:gd name="connsiteY6" fmla="*/ 407003 h 5949573"/>
              <a:gd name="connsiteX7" fmla="*/ 7577047 w 7577047"/>
              <a:gd name="connsiteY7" fmla="*/ 3261454 h 5949573"/>
              <a:gd name="connsiteX8" fmla="*/ 2564157 w 7577047"/>
              <a:gd name="connsiteY8" fmla="*/ 5735814 h 5949573"/>
              <a:gd name="connsiteX9" fmla="*/ 233491 w 7577047"/>
              <a:gd name="connsiteY9" fmla="*/ 4944407 h 5949573"/>
              <a:gd name="connsiteX10" fmla="*/ 213372 w 7577047"/>
              <a:gd name="connsiteY10" fmla="*/ 4903490 h 5949573"/>
              <a:gd name="connsiteX11" fmla="*/ 1004379 w 7577047"/>
              <a:gd name="connsiteY11" fmla="*/ 2571260 h 5949573"/>
              <a:gd name="connsiteX12" fmla="*/ 2132121 w 7577047"/>
              <a:gd name="connsiteY12" fmla="*/ 2014584 h 5949573"/>
              <a:gd name="connsiteX13" fmla="*/ 2176595 w 7577047"/>
              <a:gd name="connsiteY13" fmla="*/ 2049039 h 5949573"/>
              <a:gd name="connsiteX14" fmla="*/ 2467796 w 7577047"/>
              <a:gd name="connsiteY14" fmla="*/ 2139486 h 5949573"/>
              <a:gd name="connsiteX15" fmla="*/ 2781234 w 7577047"/>
              <a:gd name="connsiteY15" fmla="*/ 2058730 h 5949573"/>
              <a:gd name="connsiteX16" fmla="*/ 6948025 w 7577047"/>
              <a:gd name="connsiteY16" fmla="*/ 0 h 5949573"/>
              <a:gd name="connsiteX0" fmla="*/ 6948025 w 7580006"/>
              <a:gd name="connsiteY0" fmla="*/ 0 h 5949573"/>
              <a:gd name="connsiteX1" fmla="*/ 7580006 w 7580006"/>
              <a:gd name="connsiteY1" fmla="*/ 0 h 5949573"/>
              <a:gd name="connsiteX2" fmla="*/ 6304235 w 7580006"/>
              <a:gd name="connsiteY2" fmla="*/ 638503 h 5949573"/>
              <a:gd name="connsiteX3" fmla="*/ 6159164 w 7580006"/>
              <a:gd name="connsiteY3" fmla="*/ 903382 h 5949573"/>
              <a:gd name="connsiteX4" fmla="*/ 6161282 w 7580006"/>
              <a:gd name="connsiteY4" fmla="*/ 909843 h 5949573"/>
              <a:gd name="connsiteX5" fmla="*/ 6459895 w 7580006"/>
              <a:gd name="connsiteY5" fmla="*/ 956143 h 5949573"/>
              <a:gd name="connsiteX6" fmla="*/ 7577047 w 7580006"/>
              <a:gd name="connsiteY6" fmla="*/ 407003 h 5949573"/>
              <a:gd name="connsiteX7" fmla="*/ 7577047 w 7580006"/>
              <a:gd name="connsiteY7" fmla="*/ 3261454 h 5949573"/>
              <a:gd name="connsiteX8" fmla="*/ 2564157 w 7580006"/>
              <a:gd name="connsiteY8" fmla="*/ 5735814 h 5949573"/>
              <a:gd name="connsiteX9" fmla="*/ 233491 w 7580006"/>
              <a:gd name="connsiteY9" fmla="*/ 4944407 h 5949573"/>
              <a:gd name="connsiteX10" fmla="*/ 213372 w 7580006"/>
              <a:gd name="connsiteY10" fmla="*/ 4903490 h 5949573"/>
              <a:gd name="connsiteX11" fmla="*/ 1004379 w 7580006"/>
              <a:gd name="connsiteY11" fmla="*/ 2571260 h 5949573"/>
              <a:gd name="connsiteX12" fmla="*/ 2132121 w 7580006"/>
              <a:gd name="connsiteY12" fmla="*/ 2014584 h 5949573"/>
              <a:gd name="connsiteX13" fmla="*/ 2176595 w 7580006"/>
              <a:gd name="connsiteY13" fmla="*/ 2049039 h 5949573"/>
              <a:gd name="connsiteX14" fmla="*/ 2467796 w 7580006"/>
              <a:gd name="connsiteY14" fmla="*/ 2139486 h 5949573"/>
              <a:gd name="connsiteX15" fmla="*/ 2781234 w 7580006"/>
              <a:gd name="connsiteY15" fmla="*/ 2058730 h 5949573"/>
              <a:gd name="connsiteX16" fmla="*/ 6948025 w 7580006"/>
              <a:gd name="connsiteY16" fmla="*/ 0 h 5949573"/>
              <a:gd name="connsiteX0" fmla="*/ 6948025 w 7585924"/>
              <a:gd name="connsiteY0" fmla="*/ 0 h 5949573"/>
              <a:gd name="connsiteX1" fmla="*/ 7585924 w 7585924"/>
              <a:gd name="connsiteY1" fmla="*/ 0 h 5949573"/>
              <a:gd name="connsiteX2" fmla="*/ 6304235 w 7585924"/>
              <a:gd name="connsiteY2" fmla="*/ 638503 h 5949573"/>
              <a:gd name="connsiteX3" fmla="*/ 6159164 w 7585924"/>
              <a:gd name="connsiteY3" fmla="*/ 903382 h 5949573"/>
              <a:gd name="connsiteX4" fmla="*/ 6161282 w 7585924"/>
              <a:gd name="connsiteY4" fmla="*/ 909843 h 5949573"/>
              <a:gd name="connsiteX5" fmla="*/ 6459895 w 7585924"/>
              <a:gd name="connsiteY5" fmla="*/ 956143 h 5949573"/>
              <a:gd name="connsiteX6" fmla="*/ 7577047 w 7585924"/>
              <a:gd name="connsiteY6" fmla="*/ 407003 h 5949573"/>
              <a:gd name="connsiteX7" fmla="*/ 7577047 w 7585924"/>
              <a:gd name="connsiteY7" fmla="*/ 3261454 h 5949573"/>
              <a:gd name="connsiteX8" fmla="*/ 2564157 w 7585924"/>
              <a:gd name="connsiteY8" fmla="*/ 5735814 h 5949573"/>
              <a:gd name="connsiteX9" fmla="*/ 233491 w 7585924"/>
              <a:gd name="connsiteY9" fmla="*/ 4944407 h 5949573"/>
              <a:gd name="connsiteX10" fmla="*/ 213372 w 7585924"/>
              <a:gd name="connsiteY10" fmla="*/ 4903490 h 5949573"/>
              <a:gd name="connsiteX11" fmla="*/ 1004379 w 7585924"/>
              <a:gd name="connsiteY11" fmla="*/ 2571260 h 5949573"/>
              <a:gd name="connsiteX12" fmla="*/ 2132121 w 7585924"/>
              <a:gd name="connsiteY12" fmla="*/ 2014584 h 5949573"/>
              <a:gd name="connsiteX13" fmla="*/ 2176595 w 7585924"/>
              <a:gd name="connsiteY13" fmla="*/ 2049039 h 5949573"/>
              <a:gd name="connsiteX14" fmla="*/ 2467796 w 7585924"/>
              <a:gd name="connsiteY14" fmla="*/ 2139486 h 5949573"/>
              <a:gd name="connsiteX15" fmla="*/ 2781234 w 7585924"/>
              <a:gd name="connsiteY15" fmla="*/ 2058730 h 5949573"/>
              <a:gd name="connsiteX16" fmla="*/ 6948025 w 7585924"/>
              <a:gd name="connsiteY16" fmla="*/ 0 h 5949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85924" h="5949573">
                <a:moveTo>
                  <a:pt x="6948025" y="0"/>
                </a:moveTo>
                <a:lnTo>
                  <a:pt x="7585924" y="0"/>
                </a:lnTo>
                <a:lnTo>
                  <a:pt x="6304235" y="638503"/>
                </a:lnTo>
                <a:cubicBezTo>
                  <a:pt x="6304235" y="638503"/>
                  <a:pt x="6082923" y="747254"/>
                  <a:pt x="6159164" y="903382"/>
                </a:cubicBezTo>
                <a:lnTo>
                  <a:pt x="6161282" y="909843"/>
                </a:lnTo>
                <a:cubicBezTo>
                  <a:pt x="6161282" y="909843"/>
                  <a:pt x="6239641" y="1064894"/>
                  <a:pt x="6459895" y="956143"/>
                </a:cubicBezTo>
                <a:lnTo>
                  <a:pt x="7577047" y="407003"/>
                </a:lnTo>
                <a:lnTo>
                  <a:pt x="7577047" y="3261454"/>
                </a:lnTo>
                <a:lnTo>
                  <a:pt x="2564157" y="5735814"/>
                </a:lnTo>
                <a:cubicBezTo>
                  <a:pt x="1003320" y="6506764"/>
                  <a:pt x="233491" y="4944407"/>
                  <a:pt x="233491" y="4944407"/>
                </a:cubicBezTo>
                <a:lnTo>
                  <a:pt x="213372" y="4903490"/>
                </a:lnTo>
                <a:cubicBezTo>
                  <a:pt x="-556457" y="3341133"/>
                  <a:pt x="1004379" y="2571260"/>
                  <a:pt x="1004379" y="2571260"/>
                </a:cubicBezTo>
                <a:lnTo>
                  <a:pt x="2132121" y="2014584"/>
                </a:lnTo>
                <a:cubicBezTo>
                  <a:pt x="2145886" y="2026428"/>
                  <a:pt x="2160712" y="2038272"/>
                  <a:pt x="2176595" y="2049039"/>
                </a:cubicBezTo>
                <a:cubicBezTo>
                  <a:pt x="2245424" y="2096416"/>
                  <a:pt x="2342844" y="2139486"/>
                  <a:pt x="2467796" y="2139486"/>
                </a:cubicBezTo>
                <a:cubicBezTo>
                  <a:pt x="2557803" y="2139486"/>
                  <a:pt x="2661577" y="2117951"/>
                  <a:pt x="2781234" y="2058730"/>
                </a:cubicBezTo>
                <a:lnTo>
                  <a:pt x="6948025" y="0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altLang="ko-KR"/>
              <a:t>Click icon to add pictur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99944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12A714F2-A8EC-40F7-ACFF-A00E1DD10C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412" y="2373273"/>
            <a:ext cx="11271651" cy="2549580"/>
          </a:xfrm>
          <a:custGeom>
            <a:avLst/>
            <a:gdLst>
              <a:gd name="connsiteX0" fmla="*/ 1257522 w 11271651"/>
              <a:gd name="connsiteY0" fmla="*/ 0 h 2549580"/>
              <a:gd name="connsiteX1" fmla="*/ 7117931 w 11271651"/>
              <a:gd name="connsiteY1" fmla="*/ 0 h 2549580"/>
              <a:gd name="connsiteX2" fmla="*/ 7133189 w 11271651"/>
              <a:gd name="connsiteY2" fmla="*/ 37934 h 2549580"/>
              <a:gd name="connsiteX3" fmla="*/ 7567673 w 11271651"/>
              <a:gd name="connsiteY3" fmla="*/ 284761 h 2549580"/>
              <a:gd name="connsiteX4" fmla="*/ 11271651 w 11271651"/>
              <a:gd name="connsiteY4" fmla="*/ 284761 h 2549580"/>
              <a:gd name="connsiteX5" fmla="*/ 11271651 w 11271651"/>
              <a:gd name="connsiteY5" fmla="*/ 2292367 h 2549580"/>
              <a:gd name="connsiteX6" fmla="*/ 3360838 w 11271651"/>
              <a:gd name="connsiteY6" fmla="*/ 2292367 h 2549580"/>
              <a:gd name="connsiteX7" fmla="*/ 3027059 w 11271651"/>
              <a:gd name="connsiteY7" fmla="*/ 2473692 h 2549580"/>
              <a:gd name="connsiteX8" fmla="*/ 2997435 w 11271651"/>
              <a:gd name="connsiteY8" fmla="*/ 2549580 h 2549580"/>
              <a:gd name="connsiteX9" fmla="*/ 1257522 w 11271651"/>
              <a:gd name="connsiteY9" fmla="*/ 2549580 h 2549580"/>
              <a:gd name="connsiteX10" fmla="*/ 0 w 11271651"/>
              <a:gd name="connsiteY10" fmla="*/ 1291940 h 2549580"/>
              <a:gd name="connsiteX11" fmla="*/ 0 w 11271651"/>
              <a:gd name="connsiteY11" fmla="*/ 1257641 h 2549580"/>
              <a:gd name="connsiteX12" fmla="*/ 1257522 w 11271651"/>
              <a:gd name="connsiteY12" fmla="*/ 0 h 2549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271651" h="2549580">
                <a:moveTo>
                  <a:pt x="1257522" y="0"/>
                </a:moveTo>
                <a:lnTo>
                  <a:pt x="7117931" y="0"/>
                </a:lnTo>
                <a:lnTo>
                  <a:pt x="7133189" y="37934"/>
                </a:lnTo>
                <a:cubicBezTo>
                  <a:pt x="7196165" y="161665"/>
                  <a:pt x="7320847" y="284761"/>
                  <a:pt x="7567673" y="284761"/>
                </a:cubicBezTo>
                <a:lnTo>
                  <a:pt x="11271651" y="284761"/>
                </a:lnTo>
                <a:lnTo>
                  <a:pt x="11271651" y="2292367"/>
                </a:lnTo>
                <a:lnTo>
                  <a:pt x="3360838" y="2292367"/>
                </a:lnTo>
                <a:cubicBezTo>
                  <a:pt x="3357507" y="2292367"/>
                  <a:pt x="3127793" y="2295282"/>
                  <a:pt x="3027059" y="2473692"/>
                </a:cubicBezTo>
                <a:lnTo>
                  <a:pt x="2997435" y="2549580"/>
                </a:lnTo>
                <a:lnTo>
                  <a:pt x="1257522" y="2549580"/>
                </a:lnTo>
                <a:cubicBezTo>
                  <a:pt x="1257522" y="2549580"/>
                  <a:pt x="0" y="2549580"/>
                  <a:pt x="0" y="1291940"/>
                </a:cubicBezTo>
                <a:lnTo>
                  <a:pt x="0" y="1257641"/>
                </a:lnTo>
                <a:cubicBezTo>
                  <a:pt x="0" y="1257641"/>
                  <a:pt x="0" y="0"/>
                  <a:pt x="125752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altLang="ko-KR"/>
              <a:t>Click icon to add picture</a:t>
            </a:r>
            <a:endParaRPr lang="ru-RU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3074BE4-153F-46FE-B915-CD1AEF318A25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Graphic 12">
            <a:extLst>
              <a:ext uri="{FF2B5EF4-FFF2-40B4-BE49-F238E27FC236}">
                <a16:creationId xmlns:a16="http://schemas.microsoft.com/office/drawing/2014/main" id="{0B7E91C4-F19E-46BE-B05F-139B5418924E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8A64499-0304-4070-BCB0-67E2BE20A3EA}"/>
              </a:ext>
            </a:extLst>
          </p:cNvPr>
          <p:cNvSpPr/>
          <p:nvPr userDrawn="1"/>
        </p:nvSpPr>
        <p:spPr>
          <a:xfrm>
            <a:off x="7998821" y="1645349"/>
            <a:ext cx="4196737" cy="1001638"/>
          </a:xfrm>
          <a:custGeom>
            <a:avLst/>
            <a:gdLst>
              <a:gd name="connsiteX0" fmla="*/ 3150394 w 3152775"/>
              <a:gd name="connsiteY0" fmla="*/ 7144 h 752475"/>
              <a:gd name="connsiteX1" fmla="*/ 371952 w 3152775"/>
              <a:gd name="connsiteY1" fmla="*/ 7144 h 752475"/>
              <a:gd name="connsiteX2" fmla="*/ 7144 w 3152775"/>
              <a:gd name="connsiteY2" fmla="*/ 370999 h 752475"/>
              <a:gd name="connsiteX3" fmla="*/ 7144 w 3152775"/>
              <a:gd name="connsiteY3" fmla="*/ 384334 h 752475"/>
              <a:gd name="connsiteX4" fmla="*/ 371952 w 3152775"/>
              <a:gd name="connsiteY4" fmla="*/ 748189 h 752475"/>
              <a:gd name="connsiteX5" fmla="*/ 3150394 w 3152775"/>
              <a:gd name="connsiteY5" fmla="*/ 748189 h 752475"/>
              <a:gd name="connsiteX6" fmla="*/ 3150394 w 3152775"/>
              <a:gd name="connsiteY6" fmla="*/ 7144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2775" h="752475">
                <a:moveTo>
                  <a:pt x="3150394" y="7144"/>
                </a:moveTo>
                <a:lnTo>
                  <a:pt x="371952" y="7144"/>
                </a:lnTo>
                <a:cubicBezTo>
                  <a:pt x="371952" y="7144"/>
                  <a:pt x="7144" y="7144"/>
                  <a:pt x="7144" y="370999"/>
                </a:cubicBezTo>
                <a:lnTo>
                  <a:pt x="7144" y="384334"/>
                </a:lnTo>
                <a:cubicBezTo>
                  <a:pt x="7144" y="384334"/>
                  <a:pt x="7144" y="748189"/>
                  <a:pt x="371952" y="748189"/>
                </a:cubicBezTo>
                <a:lnTo>
                  <a:pt x="3150394" y="748189"/>
                </a:lnTo>
                <a:lnTo>
                  <a:pt x="3150394" y="714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D1736B3-AE79-40C2-80FF-2FB0FEE27195}"/>
              </a:ext>
            </a:extLst>
          </p:cNvPr>
          <p:cNvSpPr/>
          <p:nvPr userDrawn="1"/>
        </p:nvSpPr>
        <p:spPr>
          <a:xfrm>
            <a:off x="12186920" y="2632655"/>
            <a:ext cx="5081" cy="25381"/>
          </a:xfrm>
          <a:custGeom>
            <a:avLst/>
            <a:gdLst>
              <a:gd name="connsiteX0" fmla="*/ 0 w 5081"/>
              <a:gd name="connsiteY0" fmla="*/ 0 h 25381"/>
              <a:gd name="connsiteX1" fmla="*/ 5081 w 5081"/>
              <a:gd name="connsiteY1" fmla="*/ 0 h 25381"/>
              <a:gd name="connsiteX2" fmla="*/ 5081 w 5081"/>
              <a:gd name="connsiteY2" fmla="*/ 25381 h 25381"/>
              <a:gd name="connsiteX3" fmla="*/ 0 w 5081"/>
              <a:gd name="connsiteY3" fmla="*/ 25381 h 25381"/>
              <a:gd name="connsiteX4" fmla="*/ 0 w 5081"/>
              <a:gd name="connsiteY4" fmla="*/ 0 h 2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1">
                <a:moveTo>
                  <a:pt x="0" y="0"/>
                </a:moveTo>
                <a:lnTo>
                  <a:pt x="5081" y="0"/>
                </a:lnTo>
                <a:lnTo>
                  <a:pt x="5081" y="25381"/>
                </a:lnTo>
                <a:lnTo>
                  <a:pt x="0" y="25381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228EE-3546-4272-9C39-150FF23CE0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1987" y="793172"/>
            <a:ext cx="9144000" cy="655621"/>
          </a:xfrm>
        </p:spPr>
        <p:txBody>
          <a:bodyPr anchor="b">
            <a:normAutofit/>
          </a:bodyPr>
          <a:lstStyle>
            <a:lvl1pPr algn="l">
              <a:defRPr sz="4000" b="1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DIVIDER SLID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2EFCC6-4D5A-4B43-A534-1A868887BC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5772" y="1877051"/>
            <a:ext cx="6843278" cy="496223"/>
          </a:xfrm>
        </p:spPr>
        <p:txBody>
          <a:bodyPr>
            <a:normAutofit/>
          </a:bodyPr>
          <a:lstStyle>
            <a:lvl1pPr marL="0" indent="0" algn="l">
              <a:buNone/>
              <a:defRPr sz="1800" b="1" i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ko-KR"/>
              <a:t>Click to edit Master subtitle styl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D10BB4-D57E-4372-8E10-AC15DC096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20939-F172-405E-A418-A87CE5D90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808348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4EE1436E-33B5-4388-87D8-2D0633CC3CE7}"/>
              </a:ext>
            </a:extLst>
          </p:cNvPr>
          <p:cNvSpPr/>
          <p:nvPr/>
        </p:nvSpPr>
        <p:spPr>
          <a:xfrm>
            <a:off x="903223" y="1550951"/>
            <a:ext cx="3273552" cy="151200"/>
          </a:xfrm>
          <a:custGeom>
            <a:avLst/>
            <a:gdLst>
              <a:gd name="connsiteX0" fmla="*/ 2392204 w 2447925"/>
              <a:gd name="connsiteY0" fmla="*/ 114776 h 114300"/>
              <a:gd name="connsiteX1" fmla="*/ 60484 w 2447925"/>
              <a:gd name="connsiteY1" fmla="*/ 114776 h 114300"/>
              <a:gd name="connsiteX2" fmla="*/ 7144 w 2447925"/>
              <a:gd name="connsiteY2" fmla="*/ 60484 h 114300"/>
              <a:gd name="connsiteX3" fmla="*/ 7144 w 2447925"/>
              <a:gd name="connsiteY3" fmla="*/ 60484 h 114300"/>
              <a:gd name="connsiteX4" fmla="*/ 60484 w 2447925"/>
              <a:gd name="connsiteY4" fmla="*/ 7144 h 114300"/>
              <a:gd name="connsiteX5" fmla="*/ 2392204 w 2447925"/>
              <a:gd name="connsiteY5" fmla="*/ 7144 h 114300"/>
              <a:gd name="connsiteX6" fmla="*/ 2445544 w 2447925"/>
              <a:gd name="connsiteY6" fmla="*/ 60484 h 114300"/>
              <a:gd name="connsiteX7" fmla="*/ 2445544 w 2447925"/>
              <a:gd name="connsiteY7" fmla="*/ 60484 h 114300"/>
              <a:gd name="connsiteX8" fmla="*/ 2392204 w 2447925"/>
              <a:gd name="connsiteY8" fmla="*/ 114776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47925" h="114300">
                <a:moveTo>
                  <a:pt x="2392204" y="114776"/>
                </a:moveTo>
                <a:lnTo>
                  <a:pt x="60484" y="114776"/>
                </a:lnTo>
                <a:cubicBezTo>
                  <a:pt x="30956" y="114776"/>
                  <a:pt x="7144" y="90011"/>
                  <a:pt x="7144" y="60484"/>
                </a:cubicBezTo>
                <a:lnTo>
                  <a:pt x="7144" y="60484"/>
                </a:lnTo>
                <a:cubicBezTo>
                  <a:pt x="7144" y="30956"/>
                  <a:pt x="30956" y="7144"/>
                  <a:pt x="60484" y="7144"/>
                </a:cubicBezTo>
                <a:lnTo>
                  <a:pt x="2392204" y="7144"/>
                </a:lnTo>
                <a:cubicBezTo>
                  <a:pt x="2421731" y="7144"/>
                  <a:pt x="2445544" y="30956"/>
                  <a:pt x="2445544" y="60484"/>
                </a:cubicBezTo>
                <a:lnTo>
                  <a:pt x="2445544" y="60484"/>
                </a:lnTo>
                <a:cubicBezTo>
                  <a:pt x="2445544" y="90011"/>
                  <a:pt x="2421731" y="114776"/>
                  <a:pt x="2392204" y="11477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8FB11AB-3031-47CA-85DD-696856C3C62C}"/>
              </a:ext>
            </a:extLst>
          </p:cNvPr>
          <p:cNvSpPr/>
          <p:nvPr/>
        </p:nvSpPr>
        <p:spPr>
          <a:xfrm>
            <a:off x="3899957" y="4662943"/>
            <a:ext cx="8292043" cy="760738"/>
          </a:xfrm>
          <a:custGeom>
            <a:avLst/>
            <a:gdLst>
              <a:gd name="connsiteX0" fmla="*/ 6228874 w 6229350"/>
              <a:gd name="connsiteY0" fmla="*/ 7144 h 571500"/>
              <a:gd name="connsiteX1" fmla="*/ 284321 w 6229350"/>
              <a:gd name="connsiteY1" fmla="*/ 7144 h 571500"/>
              <a:gd name="connsiteX2" fmla="*/ 7144 w 6229350"/>
              <a:gd name="connsiteY2" fmla="*/ 282416 h 571500"/>
              <a:gd name="connsiteX3" fmla="*/ 7144 w 6229350"/>
              <a:gd name="connsiteY3" fmla="*/ 292894 h 571500"/>
              <a:gd name="connsiteX4" fmla="*/ 284321 w 6229350"/>
              <a:gd name="connsiteY4" fmla="*/ 568166 h 571500"/>
              <a:gd name="connsiteX5" fmla="*/ 6228874 w 6229350"/>
              <a:gd name="connsiteY5" fmla="*/ 568166 h 571500"/>
              <a:gd name="connsiteX6" fmla="*/ 6228874 w 6229350"/>
              <a:gd name="connsiteY6" fmla="*/ 7144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9350" h="571500">
                <a:moveTo>
                  <a:pt x="6228874" y="7144"/>
                </a:moveTo>
                <a:lnTo>
                  <a:pt x="284321" y="7144"/>
                </a:lnTo>
                <a:cubicBezTo>
                  <a:pt x="284321" y="7144"/>
                  <a:pt x="7144" y="7144"/>
                  <a:pt x="7144" y="282416"/>
                </a:cubicBezTo>
                <a:lnTo>
                  <a:pt x="7144" y="292894"/>
                </a:lnTo>
                <a:cubicBezTo>
                  <a:pt x="7144" y="292894"/>
                  <a:pt x="7144" y="568166"/>
                  <a:pt x="284321" y="568166"/>
                </a:cubicBezTo>
                <a:lnTo>
                  <a:pt x="6228874" y="568166"/>
                </a:lnTo>
                <a:lnTo>
                  <a:pt x="6228874" y="714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10624-61F8-48B2-BD00-D3BC39DEB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9CD6F167-FB82-4EFB-BAB9-1D0FEE07B85D}"/>
              </a:ext>
            </a:extLst>
          </p:cNvPr>
          <p:cNvSpPr/>
          <p:nvPr/>
        </p:nvSpPr>
        <p:spPr>
          <a:xfrm>
            <a:off x="3909848" y="4665641"/>
            <a:ext cx="8277071" cy="257213"/>
          </a:xfrm>
          <a:custGeom>
            <a:avLst/>
            <a:gdLst>
              <a:gd name="connsiteX0" fmla="*/ 363403 w 8277071"/>
              <a:gd name="connsiteY0" fmla="*/ 0 h 257213"/>
              <a:gd name="connsiteX1" fmla="*/ 8277071 w 8277071"/>
              <a:gd name="connsiteY1" fmla="*/ 0 h 257213"/>
              <a:gd name="connsiteX2" fmla="*/ 8277071 w 8277071"/>
              <a:gd name="connsiteY2" fmla="*/ 25380 h 257213"/>
              <a:gd name="connsiteX3" fmla="*/ 363403 w 8277071"/>
              <a:gd name="connsiteY3" fmla="*/ 25380 h 257213"/>
              <a:gd name="connsiteX4" fmla="*/ 61632 w 8277071"/>
              <a:gd name="connsiteY4" fmla="*/ 176355 h 257213"/>
              <a:gd name="connsiteX5" fmla="*/ 25441 w 8277071"/>
              <a:gd name="connsiteY5" fmla="*/ 257213 h 257213"/>
              <a:gd name="connsiteX6" fmla="*/ 0 w 8277071"/>
              <a:gd name="connsiteY6" fmla="*/ 257213 h 257213"/>
              <a:gd name="connsiteX7" fmla="*/ 29624 w 8277071"/>
              <a:gd name="connsiteY7" fmla="*/ 181325 h 257213"/>
              <a:gd name="connsiteX8" fmla="*/ 363403 w 8277071"/>
              <a:gd name="connsiteY8" fmla="*/ 0 h 257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7071" h="257213">
                <a:moveTo>
                  <a:pt x="363403" y="0"/>
                </a:moveTo>
                <a:lnTo>
                  <a:pt x="8277071" y="0"/>
                </a:lnTo>
                <a:lnTo>
                  <a:pt x="8277071" y="25380"/>
                </a:lnTo>
                <a:lnTo>
                  <a:pt x="363403" y="25380"/>
                </a:lnTo>
                <a:cubicBezTo>
                  <a:pt x="352934" y="25380"/>
                  <a:pt x="158297" y="28235"/>
                  <a:pt x="61632" y="176355"/>
                </a:cubicBezTo>
                <a:lnTo>
                  <a:pt x="25441" y="257213"/>
                </a:lnTo>
                <a:lnTo>
                  <a:pt x="0" y="257213"/>
                </a:lnTo>
                <a:lnTo>
                  <a:pt x="29624" y="181325"/>
                </a:lnTo>
                <a:cubicBezTo>
                  <a:pt x="130358" y="2915"/>
                  <a:pt x="360072" y="0"/>
                  <a:pt x="363403" y="0"/>
                </a:cubicBez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DD2082D-81A7-4E2D-8136-9D48016E7FE9}"/>
              </a:ext>
            </a:extLst>
          </p:cNvPr>
          <p:cNvSpPr/>
          <p:nvPr/>
        </p:nvSpPr>
        <p:spPr>
          <a:xfrm>
            <a:off x="12186919" y="4665641"/>
            <a:ext cx="5081" cy="25380"/>
          </a:xfrm>
          <a:custGeom>
            <a:avLst/>
            <a:gdLst>
              <a:gd name="connsiteX0" fmla="*/ 0 w 5081"/>
              <a:gd name="connsiteY0" fmla="*/ 0 h 25380"/>
              <a:gd name="connsiteX1" fmla="*/ 5081 w 5081"/>
              <a:gd name="connsiteY1" fmla="*/ 0 h 25380"/>
              <a:gd name="connsiteX2" fmla="*/ 5081 w 5081"/>
              <a:gd name="connsiteY2" fmla="*/ 25380 h 25380"/>
              <a:gd name="connsiteX3" fmla="*/ 0 w 5081"/>
              <a:gd name="connsiteY3" fmla="*/ 25380 h 25380"/>
              <a:gd name="connsiteX4" fmla="*/ 0 w 5081"/>
              <a:gd name="connsiteY4" fmla="*/ 0 h 25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0">
                <a:moveTo>
                  <a:pt x="0" y="0"/>
                </a:moveTo>
                <a:lnTo>
                  <a:pt x="5081" y="0"/>
                </a:lnTo>
                <a:lnTo>
                  <a:pt x="5081" y="25380"/>
                </a:lnTo>
                <a:lnTo>
                  <a:pt x="0" y="2538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F16C35-4A81-4062-808C-7697AF0FD6F5}"/>
              </a:ext>
            </a:extLst>
          </p:cNvPr>
          <p:cNvSpPr/>
          <p:nvPr/>
        </p:nvSpPr>
        <p:spPr>
          <a:xfrm>
            <a:off x="3905233" y="4922854"/>
            <a:ext cx="8286767" cy="513089"/>
          </a:xfrm>
          <a:custGeom>
            <a:avLst/>
            <a:gdLst>
              <a:gd name="connsiteX0" fmla="*/ 4615 w 8286767"/>
              <a:gd name="connsiteY0" fmla="*/ 0 h 513089"/>
              <a:gd name="connsiteX1" fmla="*/ 30056 w 8286767"/>
              <a:gd name="connsiteY1" fmla="*/ 0 h 513089"/>
              <a:gd name="connsiteX2" fmla="*/ 27385 w 8286767"/>
              <a:gd name="connsiteY2" fmla="*/ 5967 h 513089"/>
              <a:gd name="connsiteX3" fmla="*/ 12690 w 8286767"/>
              <a:gd name="connsiteY3" fmla="*/ 120958 h 513089"/>
              <a:gd name="connsiteX4" fmla="*/ 12690 w 8286767"/>
              <a:gd name="connsiteY4" fmla="*/ 134918 h 513089"/>
              <a:gd name="connsiteX5" fmla="*/ 368018 w 8286767"/>
              <a:gd name="connsiteY5" fmla="*/ 488977 h 513089"/>
              <a:gd name="connsiteX6" fmla="*/ 8286767 w 8286767"/>
              <a:gd name="connsiteY6" fmla="*/ 488977 h 513089"/>
              <a:gd name="connsiteX7" fmla="*/ 8286767 w 8286767"/>
              <a:gd name="connsiteY7" fmla="*/ 513089 h 513089"/>
              <a:gd name="connsiteX8" fmla="*/ 368018 w 8286767"/>
              <a:gd name="connsiteY8" fmla="*/ 513089 h 513089"/>
              <a:gd name="connsiteX9" fmla="*/ 0 w 8286767"/>
              <a:gd name="connsiteY9" fmla="*/ 225019 h 513089"/>
              <a:gd name="connsiteX10" fmla="*/ 0 w 8286767"/>
              <a:gd name="connsiteY10" fmla="*/ 11822 h 513089"/>
              <a:gd name="connsiteX11" fmla="*/ 4615 w 8286767"/>
              <a:gd name="connsiteY11" fmla="*/ 0 h 513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286767" h="513089">
                <a:moveTo>
                  <a:pt x="4615" y="0"/>
                </a:moveTo>
                <a:lnTo>
                  <a:pt x="30056" y="0"/>
                </a:lnTo>
                <a:lnTo>
                  <a:pt x="27385" y="5967"/>
                </a:lnTo>
                <a:cubicBezTo>
                  <a:pt x="18024" y="39383"/>
                  <a:pt x="12690" y="77494"/>
                  <a:pt x="12690" y="120958"/>
                </a:cubicBezTo>
                <a:lnTo>
                  <a:pt x="12690" y="134918"/>
                </a:lnTo>
                <a:cubicBezTo>
                  <a:pt x="12690" y="150146"/>
                  <a:pt x="17766" y="488977"/>
                  <a:pt x="368018" y="488977"/>
                </a:cubicBezTo>
                <a:lnTo>
                  <a:pt x="8286767" y="488977"/>
                </a:lnTo>
                <a:lnTo>
                  <a:pt x="8286767" y="513089"/>
                </a:lnTo>
                <a:lnTo>
                  <a:pt x="368018" y="513089"/>
                </a:lnTo>
                <a:cubicBezTo>
                  <a:pt x="110405" y="513089"/>
                  <a:pt x="26649" y="336694"/>
                  <a:pt x="0" y="225019"/>
                </a:cubicBezTo>
                <a:lnTo>
                  <a:pt x="0" y="11822"/>
                </a:lnTo>
                <a:lnTo>
                  <a:pt x="4615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1937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3767FEE9-DC75-4465-BA6B-06E00CF6A27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0660" cy="5569499"/>
          </a:xfrm>
          <a:custGeom>
            <a:avLst/>
            <a:gdLst>
              <a:gd name="connsiteX0" fmla="*/ 0 w 12190660"/>
              <a:gd name="connsiteY0" fmla="*/ 0 h 5569499"/>
              <a:gd name="connsiteX1" fmla="*/ 10154649 w 12190660"/>
              <a:gd name="connsiteY1" fmla="*/ 0 h 5569499"/>
              <a:gd name="connsiteX2" fmla="*/ 7708389 w 12190660"/>
              <a:gd name="connsiteY2" fmla="*/ 1206619 h 5569499"/>
              <a:gd name="connsiteX3" fmla="*/ 7464525 w 12190660"/>
              <a:gd name="connsiteY3" fmla="*/ 1403488 h 5569499"/>
              <a:gd name="connsiteX4" fmla="*/ 7401019 w 12190660"/>
              <a:gd name="connsiteY4" fmla="*/ 1973774 h 5569499"/>
              <a:gd name="connsiteX5" fmla="*/ 7409910 w 12190660"/>
              <a:gd name="connsiteY5" fmla="*/ 1991556 h 5569499"/>
              <a:gd name="connsiteX6" fmla="*/ 7600428 w 12190660"/>
              <a:gd name="connsiteY6" fmla="*/ 2204937 h 5569499"/>
              <a:gd name="connsiteX7" fmla="*/ 7891287 w 12190660"/>
              <a:gd name="connsiteY7" fmla="*/ 2295116 h 5569499"/>
              <a:gd name="connsiteX8" fmla="*/ 8205008 w 12190660"/>
              <a:gd name="connsiteY8" fmla="*/ 2213828 h 5569499"/>
              <a:gd name="connsiteX9" fmla="*/ 12190660 w 12190660"/>
              <a:gd name="connsiteY9" fmla="*/ 248944 h 5569499"/>
              <a:gd name="connsiteX10" fmla="*/ 12190660 w 12190660"/>
              <a:gd name="connsiteY10" fmla="*/ 449624 h 5569499"/>
              <a:gd name="connsiteX11" fmla="*/ 10261340 w 12190660"/>
              <a:gd name="connsiteY11" fmla="*/ 1400948 h 5569499"/>
              <a:gd name="connsiteX12" fmla="*/ 9931108 w 12190660"/>
              <a:gd name="connsiteY12" fmla="*/ 1680375 h 5569499"/>
              <a:gd name="connsiteX13" fmla="*/ 9879032 w 12190660"/>
              <a:gd name="connsiteY13" fmla="*/ 2528819 h 5569499"/>
              <a:gd name="connsiteX14" fmla="*/ 9893004 w 12190660"/>
              <a:gd name="connsiteY14" fmla="*/ 2556762 h 5569499"/>
              <a:gd name="connsiteX15" fmla="*/ 10172431 w 12190660"/>
              <a:gd name="connsiteY15" fmla="*/ 2886994 h 5569499"/>
              <a:gd name="connsiteX16" fmla="*/ 10618245 w 12190660"/>
              <a:gd name="connsiteY16" fmla="*/ 3041950 h 5569499"/>
              <a:gd name="connsiteX17" fmla="*/ 11019604 w 12190660"/>
              <a:gd name="connsiteY17" fmla="*/ 2939069 h 5569499"/>
              <a:gd name="connsiteX18" fmla="*/ 12190660 w 12190660"/>
              <a:gd name="connsiteY18" fmla="*/ 2362433 h 5569499"/>
              <a:gd name="connsiteX19" fmla="*/ 12190660 w 12190660"/>
              <a:gd name="connsiteY19" fmla="*/ 5569499 h 5569499"/>
              <a:gd name="connsiteX20" fmla="*/ 0 w 12190660"/>
              <a:gd name="connsiteY20" fmla="*/ 5569499 h 5569499"/>
              <a:gd name="connsiteX21" fmla="*/ 0 w 12190660"/>
              <a:gd name="connsiteY21" fmla="*/ 4872200 h 5569499"/>
              <a:gd name="connsiteX22" fmla="*/ 1553363 w 12190660"/>
              <a:gd name="connsiteY22" fmla="*/ 4107584 h 5569499"/>
              <a:gd name="connsiteX23" fmla="*/ 1698157 w 12190660"/>
              <a:gd name="connsiteY23" fmla="*/ 3842128 h 5569499"/>
              <a:gd name="connsiteX24" fmla="*/ 1695617 w 12190660"/>
              <a:gd name="connsiteY24" fmla="*/ 3835778 h 5569499"/>
              <a:gd name="connsiteX25" fmla="*/ 1693077 w 12190660"/>
              <a:gd name="connsiteY25" fmla="*/ 3831968 h 5569499"/>
              <a:gd name="connsiteX26" fmla="*/ 2488175 w 12190660"/>
              <a:gd name="connsiteY26" fmla="*/ 3439499 h 5569499"/>
              <a:gd name="connsiteX27" fmla="*/ 2795545 w 12190660"/>
              <a:gd name="connsiteY27" fmla="*/ 2672343 h 5569499"/>
              <a:gd name="connsiteX28" fmla="*/ 2786654 w 12190660"/>
              <a:gd name="connsiteY28" fmla="*/ 2654561 h 5569499"/>
              <a:gd name="connsiteX29" fmla="*/ 1991556 w 12190660"/>
              <a:gd name="connsiteY29" fmla="*/ 2432290 h 5569499"/>
              <a:gd name="connsiteX30" fmla="*/ 0 w 12190660"/>
              <a:gd name="connsiteY30" fmla="*/ 3414096 h 5569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0660" h="5569499">
                <a:moveTo>
                  <a:pt x="0" y="0"/>
                </a:moveTo>
                <a:lnTo>
                  <a:pt x="10154649" y="0"/>
                </a:lnTo>
                <a:lnTo>
                  <a:pt x="7708389" y="1206619"/>
                </a:lnTo>
                <a:cubicBezTo>
                  <a:pt x="7703308" y="1210429"/>
                  <a:pt x="7569945" y="1276476"/>
                  <a:pt x="7464525" y="1403488"/>
                </a:cubicBezTo>
                <a:cubicBezTo>
                  <a:pt x="7365455" y="1522880"/>
                  <a:pt x="7275276" y="1718479"/>
                  <a:pt x="7401019" y="1973774"/>
                </a:cubicBezTo>
                <a:lnTo>
                  <a:pt x="7409910" y="1991556"/>
                </a:lnTo>
                <a:cubicBezTo>
                  <a:pt x="7412449" y="1996637"/>
                  <a:pt x="7472145" y="2117298"/>
                  <a:pt x="7600428" y="2204937"/>
                </a:cubicBezTo>
                <a:cubicBezTo>
                  <a:pt x="7669015" y="2251932"/>
                  <a:pt x="7766815" y="2295116"/>
                  <a:pt x="7891287" y="2295116"/>
                </a:cubicBezTo>
                <a:cubicBezTo>
                  <a:pt x="7981466" y="2295116"/>
                  <a:pt x="8085616" y="2272254"/>
                  <a:pt x="8205008" y="2213828"/>
                </a:cubicBezTo>
                <a:lnTo>
                  <a:pt x="12190660" y="248944"/>
                </a:lnTo>
                <a:lnTo>
                  <a:pt x="12190660" y="449624"/>
                </a:lnTo>
                <a:lnTo>
                  <a:pt x="10261340" y="1400948"/>
                </a:lnTo>
                <a:cubicBezTo>
                  <a:pt x="10253719" y="1404758"/>
                  <a:pt x="10070821" y="1496207"/>
                  <a:pt x="9931108" y="1680375"/>
                </a:cubicBezTo>
                <a:cubicBezTo>
                  <a:pt x="9801555" y="1853112"/>
                  <a:pt x="9687243" y="2138891"/>
                  <a:pt x="9879032" y="2528819"/>
                </a:cubicBezTo>
                <a:lnTo>
                  <a:pt x="9893004" y="2556762"/>
                </a:lnTo>
                <a:cubicBezTo>
                  <a:pt x="9896814" y="2564382"/>
                  <a:pt x="9988263" y="2747281"/>
                  <a:pt x="10172431" y="2886994"/>
                </a:cubicBezTo>
                <a:cubicBezTo>
                  <a:pt x="10277852" y="2967012"/>
                  <a:pt x="10427726" y="3041950"/>
                  <a:pt x="10618245" y="3041950"/>
                </a:cubicBezTo>
                <a:cubicBezTo>
                  <a:pt x="10736366" y="3041950"/>
                  <a:pt x="10869730" y="3012737"/>
                  <a:pt x="11019604" y="2939069"/>
                </a:cubicBezTo>
                <a:lnTo>
                  <a:pt x="12190660" y="2362433"/>
                </a:lnTo>
                <a:lnTo>
                  <a:pt x="12190660" y="5569499"/>
                </a:lnTo>
                <a:lnTo>
                  <a:pt x="0" y="5569499"/>
                </a:lnTo>
                <a:lnTo>
                  <a:pt x="0" y="4872200"/>
                </a:lnTo>
                <a:lnTo>
                  <a:pt x="1553363" y="4107584"/>
                </a:lnTo>
                <a:cubicBezTo>
                  <a:pt x="1553363" y="4107584"/>
                  <a:pt x="1775635" y="3998354"/>
                  <a:pt x="1698157" y="3842128"/>
                </a:cubicBezTo>
                <a:lnTo>
                  <a:pt x="1695617" y="3835778"/>
                </a:lnTo>
                <a:cubicBezTo>
                  <a:pt x="1695617" y="3835778"/>
                  <a:pt x="1694347" y="3834508"/>
                  <a:pt x="1693077" y="3831968"/>
                </a:cubicBezTo>
                <a:lnTo>
                  <a:pt x="2488175" y="3439499"/>
                </a:lnTo>
                <a:cubicBezTo>
                  <a:pt x="2493255" y="3435688"/>
                  <a:pt x="3036869" y="3161341"/>
                  <a:pt x="2795545" y="2672343"/>
                </a:cubicBezTo>
                <a:lnTo>
                  <a:pt x="2786654" y="2654561"/>
                </a:lnTo>
                <a:cubicBezTo>
                  <a:pt x="2784114" y="2649481"/>
                  <a:pt x="2536440" y="2163023"/>
                  <a:pt x="1991556" y="2432290"/>
                </a:cubicBezTo>
                <a:lnTo>
                  <a:pt x="0" y="3414096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altLang="ko-KR"/>
              <a:t>Click icon to add picture</a:t>
            </a:r>
            <a:endParaRPr lang="ru-RU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A0902BC-58E0-4395-9D80-6CF5CA0FAAB0}"/>
              </a:ext>
            </a:extLst>
          </p:cNvPr>
          <p:cNvSpPr/>
          <p:nvPr/>
        </p:nvSpPr>
        <p:spPr>
          <a:xfrm>
            <a:off x="7345849" y="-12701"/>
            <a:ext cx="4851878" cy="2298926"/>
          </a:xfrm>
          <a:custGeom>
            <a:avLst/>
            <a:gdLst>
              <a:gd name="connsiteX0" fmla="*/ 4844811 w 4851877"/>
              <a:gd name="connsiteY0" fmla="*/ 12701 h 2298926"/>
              <a:gd name="connsiteX1" fmla="*/ 2851985 w 4851877"/>
              <a:gd name="connsiteY1" fmla="*/ 12701 h 2298926"/>
              <a:gd name="connsiteX2" fmla="*/ 371430 w 4851877"/>
              <a:gd name="connsiteY2" fmla="*/ 1235832 h 2298926"/>
              <a:gd name="connsiteX3" fmla="*/ 72951 w 4851877"/>
              <a:gd name="connsiteY3" fmla="*/ 1977585 h 2298926"/>
              <a:gd name="connsiteX4" fmla="*/ 81842 w 4851877"/>
              <a:gd name="connsiteY4" fmla="*/ 1995367 h 2298926"/>
              <a:gd name="connsiteX5" fmla="*/ 851538 w 4851877"/>
              <a:gd name="connsiteY5" fmla="*/ 2210018 h 2298926"/>
              <a:gd name="connsiteX6" fmla="*/ 4844811 w 4851877"/>
              <a:gd name="connsiteY6" fmla="*/ 240054 h 2298926"/>
              <a:gd name="connsiteX7" fmla="*/ 4844811 w 4851877"/>
              <a:gd name="connsiteY7" fmla="*/ 12701 h 22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51877" h="2298926">
                <a:moveTo>
                  <a:pt x="4844811" y="12701"/>
                </a:moveTo>
                <a:lnTo>
                  <a:pt x="2851985" y="12701"/>
                </a:lnTo>
                <a:lnTo>
                  <a:pt x="371430" y="1235832"/>
                </a:lnTo>
                <a:cubicBezTo>
                  <a:pt x="371430" y="1235832"/>
                  <a:pt x="-163292" y="1500018"/>
                  <a:pt x="72951" y="1977585"/>
                </a:cubicBezTo>
                <a:lnTo>
                  <a:pt x="81842" y="1995367"/>
                </a:lnTo>
                <a:cubicBezTo>
                  <a:pt x="81842" y="1995367"/>
                  <a:pt x="316815" y="2472934"/>
                  <a:pt x="851538" y="2210018"/>
                </a:cubicBezTo>
                <a:lnTo>
                  <a:pt x="4844811" y="240054"/>
                </a:lnTo>
                <a:lnTo>
                  <a:pt x="4844811" y="1270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5DCE3DA5-C000-4DAD-8FCD-9A285AB48C83}"/>
              </a:ext>
            </a:extLst>
          </p:cNvPr>
          <p:cNvSpPr/>
          <p:nvPr/>
        </p:nvSpPr>
        <p:spPr>
          <a:xfrm>
            <a:off x="9782306" y="458515"/>
            <a:ext cx="2413238" cy="2578354"/>
          </a:xfrm>
          <a:custGeom>
            <a:avLst/>
            <a:gdLst>
              <a:gd name="connsiteX0" fmla="*/ 2408354 w 2413237"/>
              <a:gd name="connsiteY0" fmla="*/ 12701 h 2578353"/>
              <a:gd name="connsiteX1" fmla="*/ 487924 w 2413237"/>
              <a:gd name="connsiteY1" fmla="*/ 960215 h 2578353"/>
              <a:gd name="connsiteX2" fmla="*/ 113238 w 2413237"/>
              <a:gd name="connsiteY2" fmla="*/ 2062683 h 2578353"/>
              <a:gd name="connsiteX3" fmla="*/ 127209 w 2413237"/>
              <a:gd name="connsiteY3" fmla="*/ 2090626 h 2578353"/>
              <a:gd name="connsiteX4" fmla="*/ 1229678 w 2413237"/>
              <a:gd name="connsiteY4" fmla="*/ 2465313 h 2578353"/>
              <a:gd name="connsiteX5" fmla="*/ 2408354 w 2413237"/>
              <a:gd name="connsiteY5" fmla="*/ 1883595 h 2578353"/>
              <a:gd name="connsiteX6" fmla="*/ 2408354 w 2413237"/>
              <a:gd name="connsiteY6" fmla="*/ 12701 h 25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13237" h="2578353">
                <a:moveTo>
                  <a:pt x="2408354" y="12701"/>
                </a:moveTo>
                <a:lnTo>
                  <a:pt x="487924" y="960215"/>
                </a:lnTo>
                <a:cubicBezTo>
                  <a:pt x="487924" y="960215"/>
                  <a:pt x="-250018" y="1324740"/>
                  <a:pt x="113238" y="2062683"/>
                </a:cubicBezTo>
                <a:lnTo>
                  <a:pt x="127209" y="2090626"/>
                </a:lnTo>
                <a:cubicBezTo>
                  <a:pt x="127209" y="2090626"/>
                  <a:pt x="491735" y="2828568"/>
                  <a:pt x="1229678" y="2465313"/>
                </a:cubicBezTo>
                <a:lnTo>
                  <a:pt x="2408354" y="1883595"/>
                </a:lnTo>
                <a:lnTo>
                  <a:pt x="2408354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AE88C29-9AC8-4A6D-9141-98B2210C7466}"/>
              </a:ext>
            </a:extLst>
          </p:cNvPr>
          <p:cNvSpPr/>
          <p:nvPr/>
        </p:nvSpPr>
        <p:spPr>
          <a:xfrm>
            <a:off x="-12701" y="2355829"/>
            <a:ext cx="2857781" cy="2298926"/>
          </a:xfrm>
          <a:custGeom>
            <a:avLst/>
            <a:gdLst>
              <a:gd name="connsiteX0" fmla="*/ 2782844 w 2857781"/>
              <a:gd name="connsiteY0" fmla="*/ 306353 h 2298926"/>
              <a:gd name="connsiteX1" fmla="*/ 2013148 w 2857781"/>
              <a:gd name="connsiteY1" fmla="*/ 91702 h 2298926"/>
              <a:gd name="connsiteX2" fmla="*/ 12701 w 2857781"/>
              <a:gd name="connsiteY2" fmla="*/ 1078589 h 2298926"/>
              <a:gd name="connsiteX3" fmla="*/ 12701 w 2857781"/>
              <a:gd name="connsiteY3" fmla="*/ 2289019 h 2298926"/>
              <a:gd name="connsiteX4" fmla="*/ 2491985 w 2857781"/>
              <a:gd name="connsiteY4" fmla="*/ 1065888 h 2298926"/>
              <a:gd name="connsiteX5" fmla="*/ 2790465 w 2857781"/>
              <a:gd name="connsiteY5" fmla="*/ 324135 h 2298926"/>
              <a:gd name="connsiteX6" fmla="*/ 2782844 w 2857781"/>
              <a:gd name="connsiteY6" fmla="*/ 306353 h 22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7781" h="2298926">
                <a:moveTo>
                  <a:pt x="2782844" y="306353"/>
                </a:moveTo>
                <a:cubicBezTo>
                  <a:pt x="2782844" y="306353"/>
                  <a:pt x="2547871" y="-171214"/>
                  <a:pt x="2013148" y="91702"/>
                </a:cubicBezTo>
                <a:lnTo>
                  <a:pt x="12701" y="1078589"/>
                </a:lnTo>
                <a:lnTo>
                  <a:pt x="12701" y="2289019"/>
                </a:lnTo>
                <a:lnTo>
                  <a:pt x="2491985" y="1065888"/>
                </a:lnTo>
                <a:cubicBezTo>
                  <a:pt x="2491985" y="1065888"/>
                  <a:pt x="3026708" y="801702"/>
                  <a:pt x="2790465" y="324135"/>
                </a:cubicBezTo>
                <a:lnTo>
                  <a:pt x="2782844" y="306353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F8CA5B8-0BAD-4554-87FE-E0910E6CD5C5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Graphic 12">
            <a:extLst>
              <a:ext uri="{FF2B5EF4-FFF2-40B4-BE49-F238E27FC236}">
                <a16:creationId xmlns:a16="http://schemas.microsoft.com/office/drawing/2014/main" id="{12CBB0CF-5FCC-4507-BD7B-C02386D2A23C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CB2BB-1ED9-489E-8AC7-2A8D8459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349863"/>
            <a:ext cx="10515600" cy="78263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G IMAGE</a:t>
            </a:r>
            <a:endParaRPr lang="ru-R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208BCD-3B7E-49DF-8BF5-68AE9DD7D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238811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517C1-CBB7-46B0-99AA-851210402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78B29DA7-7E72-4576-8F68-91B70D11C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12987" y="5718810"/>
            <a:ext cx="7366026" cy="946532"/>
          </a:xfrm>
        </p:spPr>
        <p:txBody>
          <a:bodyPr>
            <a:noAutofit/>
          </a:bodyPr>
          <a:lstStyle>
            <a:lvl1pPr marL="0" indent="0" algn="ctr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91E01B-B80B-4194-AC2B-41043EC59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2500" y="5155439"/>
            <a:ext cx="2667000" cy="139903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FBE26926-54A6-49D3-95EA-F31F133A0E3B}"/>
              </a:ext>
            </a:extLst>
          </p:cNvPr>
          <p:cNvSpPr/>
          <p:nvPr/>
        </p:nvSpPr>
        <p:spPr>
          <a:xfrm>
            <a:off x="8826099" y="2044901"/>
            <a:ext cx="736673" cy="736673"/>
          </a:xfrm>
          <a:custGeom>
            <a:avLst/>
            <a:gdLst>
              <a:gd name="connsiteX0" fmla="*/ 372146 w 736672"/>
              <a:gd name="connsiteY0" fmla="*/ 731592 h 736672"/>
              <a:gd name="connsiteX1" fmla="*/ 731592 w 736672"/>
              <a:gd name="connsiteY1" fmla="*/ 372147 h 736672"/>
              <a:gd name="connsiteX2" fmla="*/ 372146 w 736672"/>
              <a:gd name="connsiteY2" fmla="*/ 12701 h 736672"/>
              <a:gd name="connsiteX3" fmla="*/ 12701 w 736672"/>
              <a:gd name="connsiteY3" fmla="*/ 372147 h 736672"/>
              <a:gd name="connsiteX4" fmla="*/ 372146 w 736672"/>
              <a:gd name="connsiteY4" fmla="*/ 731592 h 73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6672" h="736672">
                <a:moveTo>
                  <a:pt x="372146" y="731592"/>
                </a:moveTo>
                <a:cubicBezTo>
                  <a:pt x="570286" y="731592"/>
                  <a:pt x="731592" y="570286"/>
                  <a:pt x="731592" y="372147"/>
                </a:cubicBezTo>
                <a:cubicBezTo>
                  <a:pt x="731592" y="174007"/>
                  <a:pt x="570286" y="12701"/>
                  <a:pt x="372146" y="12701"/>
                </a:cubicBezTo>
                <a:cubicBezTo>
                  <a:pt x="174007" y="12701"/>
                  <a:pt x="12701" y="174007"/>
                  <a:pt x="12701" y="372147"/>
                </a:cubicBezTo>
                <a:cubicBezTo>
                  <a:pt x="12701" y="570286"/>
                  <a:pt x="174007" y="731592"/>
                  <a:pt x="372146" y="731592"/>
                </a:cubicBezTo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C3AFCA09-1411-4603-AEED-DBD79C4BE2CA}"/>
              </a:ext>
            </a:extLst>
          </p:cNvPr>
          <p:cNvSpPr/>
          <p:nvPr/>
        </p:nvSpPr>
        <p:spPr>
          <a:xfrm>
            <a:off x="8810222" y="2029025"/>
            <a:ext cx="774776" cy="774776"/>
          </a:xfrm>
          <a:custGeom>
            <a:avLst/>
            <a:gdLst>
              <a:gd name="connsiteX0" fmla="*/ 388023 w 774776"/>
              <a:gd name="connsiteY0" fmla="*/ 766521 h 774776"/>
              <a:gd name="connsiteX1" fmla="*/ 9526 w 774776"/>
              <a:gd name="connsiteY1" fmla="*/ 388023 h 774776"/>
              <a:gd name="connsiteX2" fmla="*/ 388023 w 774776"/>
              <a:gd name="connsiteY2" fmla="*/ 9526 h 774776"/>
              <a:gd name="connsiteX3" fmla="*/ 766520 w 774776"/>
              <a:gd name="connsiteY3" fmla="*/ 388023 h 774776"/>
              <a:gd name="connsiteX4" fmla="*/ 388023 w 774776"/>
              <a:gd name="connsiteY4" fmla="*/ 766521 h 774776"/>
              <a:gd name="connsiteX5" fmla="*/ 388023 w 774776"/>
              <a:gd name="connsiteY5" fmla="*/ 48900 h 774776"/>
              <a:gd name="connsiteX6" fmla="*/ 47630 w 774776"/>
              <a:gd name="connsiteY6" fmla="*/ 389293 h 774776"/>
              <a:gd name="connsiteX7" fmla="*/ 388023 w 774776"/>
              <a:gd name="connsiteY7" fmla="*/ 729687 h 774776"/>
              <a:gd name="connsiteX8" fmla="*/ 728416 w 774776"/>
              <a:gd name="connsiteY8" fmla="*/ 389293 h 774776"/>
              <a:gd name="connsiteX9" fmla="*/ 388023 w 774776"/>
              <a:gd name="connsiteY9" fmla="*/ 48900 h 774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4776" h="774776">
                <a:moveTo>
                  <a:pt x="388023" y="766521"/>
                </a:moveTo>
                <a:cubicBezTo>
                  <a:pt x="179722" y="766521"/>
                  <a:pt x="9526" y="596324"/>
                  <a:pt x="9526" y="388023"/>
                </a:cubicBezTo>
                <a:cubicBezTo>
                  <a:pt x="9526" y="179723"/>
                  <a:pt x="179722" y="9526"/>
                  <a:pt x="388023" y="9526"/>
                </a:cubicBezTo>
                <a:cubicBezTo>
                  <a:pt x="596323" y="9526"/>
                  <a:pt x="766520" y="179723"/>
                  <a:pt x="766520" y="388023"/>
                </a:cubicBezTo>
                <a:cubicBezTo>
                  <a:pt x="766520" y="596324"/>
                  <a:pt x="596323" y="766521"/>
                  <a:pt x="388023" y="766521"/>
                </a:cubicBezTo>
                <a:close/>
                <a:moveTo>
                  <a:pt x="388023" y="48900"/>
                </a:moveTo>
                <a:cubicBezTo>
                  <a:pt x="200045" y="48900"/>
                  <a:pt x="47630" y="201315"/>
                  <a:pt x="47630" y="389293"/>
                </a:cubicBezTo>
                <a:cubicBezTo>
                  <a:pt x="47630" y="577272"/>
                  <a:pt x="200045" y="729687"/>
                  <a:pt x="388023" y="729687"/>
                </a:cubicBezTo>
                <a:cubicBezTo>
                  <a:pt x="576001" y="729687"/>
                  <a:pt x="728416" y="577272"/>
                  <a:pt x="728416" y="389293"/>
                </a:cubicBezTo>
                <a:cubicBezTo>
                  <a:pt x="728416" y="201315"/>
                  <a:pt x="576001" y="48900"/>
                  <a:pt x="388023" y="4890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E4E0103-B430-4F31-B26F-21E197A41135}"/>
              </a:ext>
            </a:extLst>
          </p:cNvPr>
          <p:cNvSpPr/>
          <p:nvPr/>
        </p:nvSpPr>
        <p:spPr>
          <a:xfrm>
            <a:off x="7329938" y="-9526"/>
            <a:ext cx="4864579" cy="2311628"/>
          </a:xfrm>
          <a:custGeom>
            <a:avLst/>
            <a:gdLst>
              <a:gd name="connsiteX0" fmla="*/ 2911080 w 4864578"/>
              <a:gd name="connsiteY0" fmla="*/ 9526 h 2311627"/>
              <a:gd name="connsiteX1" fmla="*/ 2824712 w 4864578"/>
              <a:gd name="connsiteY1" fmla="*/ 9526 h 2311627"/>
              <a:gd name="connsiteX2" fmla="*/ 378451 w 4864578"/>
              <a:gd name="connsiteY2" fmla="*/ 1216145 h 2311627"/>
              <a:gd name="connsiteX3" fmla="*/ 134587 w 4864578"/>
              <a:gd name="connsiteY3" fmla="*/ 1413014 h 2311627"/>
              <a:gd name="connsiteX4" fmla="*/ 71081 w 4864578"/>
              <a:gd name="connsiteY4" fmla="*/ 1983300 h 2311627"/>
              <a:gd name="connsiteX5" fmla="*/ 79972 w 4864578"/>
              <a:gd name="connsiteY5" fmla="*/ 2001082 h 2311627"/>
              <a:gd name="connsiteX6" fmla="*/ 270491 w 4864578"/>
              <a:gd name="connsiteY6" fmla="*/ 2214463 h 2311627"/>
              <a:gd name="connsiteX7" fmla="*/ 561349 w 4864578"/>
              <a:gd name="connsiteY7" fmla="*/ 2304642 h 2311627"/>
              <a:gd name="connsiteX8" fmla="*/ 875070 w 4864578"/>
              <a:gd name="connsiteY8" fmla="*/ 2223354 h 2311627"/>
              <a:gd name="connsiteX9" fmla="*/ 4860722 w 4864578"/>
              <a:gd name="connsiteY9" fmla="*/ 258470 h 2311627"/>
              <a:gd name="connsiteX10" fmla="*/ 4860722 w 4864578"/>
              <a:gd name="connsiteY10" fmla="*/ 216556 h 2311627"/>
              <a:gd name="connsiteX11" fmla="*/ 858558 w 4864578"/>
              <a:gd name="connsiteY11" fmla="*/ 2189061 h 2311627"/>
              <a:gd name="connsiteX12" fmla="*/ 293353 w 4864578"/>
              <a:gd name="connsiteY12" fmla="*/ 2182710 h 2311627"/>
              <a:gd name="connsiteX13" fmla="*/ 114265 w 4864578"/>
              <a:gd name="connsiteY13" fmla="*/ 1983300 h 2311627"/>
              <a:gd name="connsiteX14" fmla="*/ 105374 w 4864578"/>
              <a:gd name="connsiteY14" fmla="*/ 1965519 h 2311627"/>
              <a:gd name="connsiteX15" fmla="*/ 163800 w 4864578"/>
              <a:gd name="connsiteY15" fmla="*/ 1437147 h 2311627"/>
              <a:gd name="connsiteX16" fmla="*/ 396233 w 4864578"/>
              <a:gd name="connsiteY16" fmla="*/ 1249168 h 2311627"/>
              <a:gd name="connsiteX17" fmla="*/ 396233 w 4864578"/>
              <a:gd name="connsiteY17" fmla="*/ 1249168 h 2311627"/>
              <a:gd name="connsiteX18" fmla="*/ 2911080 w 4864578"/>
              <a:gd name="connsiteY18" fmla="*/ 9526 h 231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864578" h="2311627">
                <a:moveTo>
                  <a:pt x="2911080" y="9526"/>
                </a:moveTo>
                <a:lnTo>
                  <a:pt x="2824712" y="9526"/>
                </a:lnTo>
                <a:lnTo>
                  <a:pt x="378451" y="1216145"/>
                </a:lnTo>
                <a:cubicBezTo>
                  <a:pt x="373371" y="1218685"/>
                  <a:pt x="240007" y="1284732"/>
                  <a:pt x="134587" y="1413014"/>
                </a:cubicBezTo>
                <a:cubicBezTo>
                  <a:pt x="35518" y="1532406"/>
                  <a:pt x="-54662" y="1728005"/>
                  <a:pt x="71081" y="1983300"/>
                </a:cubicBezTo>
                <a:lnTo>
                  <a:pt x="79972" y="2001082"/>
                </a:lnTo>
                <a:cubicBezTo>
                  <a:pt x="82512" y="2006163"/>
                  <a:pt x="142208" y="2125554"/>
                  <a:pt x="270491" y="2214463"/>
                </a:cubicBezTo>
                <a:cubicBezTo>
                  <a:pt x="339077" y="2261458"/>
                  <a:pt x="436877" y="2304642"/>
                  <a:pt x="561349" y="2304642"/>
                </a:cubicBezTo>
                <a:cubicBezTo>
                  <a:pt x="651528" y="2304642"/>
                  <a:pt x="755678" y="2283050"/>
                  <a:pt x="875070" y="2223354"/>
                </a:cubicBezTo>
                <a:lnTo>
                  <a:pt x="4860722" y="258470"/>
                </a:lnTo>
                <a:lnTo>
                  <a:pt x="4860722" y="216556"/>
                </a:lnTo>
                <a:lnTo>
                  <a:pt x="858558" y="2189061"/>
                </a:lnTo>
                <a:cubicBezTo>
                  <a:pt x="643907" y="2294481"/>
                  <a:pt x="454659" y="2293211"/>
                  <a:pt x="293353" y="2182710"/>
                </a:cubicBezTo>
                <a:cubicBezTo>
                  <a:pt x="172691" y="2100152"/>
                  <a:pt x="114265" y="1984570"/>
                  <a:pt x="114265" y="1983300"/>
                </a:cubicBezTo>
                <a:lnTo>
                  <a:pt x="105374" y="1965519"/>
                </a:lnTo>
                <a:cubicBezTo>
                  <a:pt x="11385" y="1775000"/>
                  <a:pt x="30437" y="1597182"/>
                  <a:pt x="163800" y="1437147"/>
                </a:cubicBezTo>
                <a:cubicBezTo>
                  <a:pt x="264140" y="1315215"/>
                  <a:pt x="394963" y="1250438"/>
                  <a:pt x="396233" y="1249168"/>
                </a:cubicBezTo>
                <a:lnTo>
                  <a:pt x="396233" y="1249168"/>
                </a:lnTo>
                <a:lnTo>
                  <a:pt x="2911080" y="952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5525C01-736F-4E07-B20A-72ABE0F38C9F}"/>
              </a:ext>
            </a:extLst>
          </p:cNvPr>
          <p:cNvSpPr/>
          <p:nvPr/>
        </p:nvSpPr>
        <p:spPr>
          <a:xfrm>
            <a:off x="9766949" y="442639"/>
            <a:ext cx="2425939" cy="2603756"/>
          </a:xfrm>
          <a:custGeom>
            <a:avLst/>
            <a:gdLst>
              <a:gd name="connsiteX0" fmla="*/ 2423711 w 2425938"/>
              <a:gd name="connsiteY0" fmla="*/ 1877880 h 2603756"/>
              <a:gd name="connsiteX1" fmla="*/ 1236144 w 2425938"/>
              <a:gd name="connsiteY1" fmla="*/ 2463408 h 2603756"/>
              <a:gd name="connsiteX2" fmla="*/ 429615 w 2425938"/>
              <a:gd name="connsiteY2" fmla="*/ 2415143 h 2603756"/>
              <a:gd name="connsiteX3" fmla="*/ 160348 w 2425938"/>
              <a:gd name="connsiteY3" fmla="*/ 2097612 h 2603756"/>
              <a:gd name="connsiteX4" fmla="*/ 146377 w 2425938"/>
              <a:gd name="connsiteY4" fmla="*/ 2069669 h 2603756"/>
              <a:gd name="connsiteX5" fmla="*/ 194642 w 2425938"/>
              <a:gd name="connsiteY5" fmla="*/ 1263139 h 2603756"/>
              <a:gd name="connsiteX6" fmla="*/ 512173 w 2425938"/>
              <a:gd name="connsiteY6" fmla="*/ 993873 h 2603756"/>
              <a:gd name="connsiteX7" fmla="*/ 2423711 w 2425938"/>
              <a:gd name="connsiteY7" fmla="*/ 51440 h 2603756"/>
              <a:gd name="connsiteX8" fmla="*/ 2423711 w 2425938"/>
              <a:gd name="connsiteY8" fmla="*/ 9526 h 2603756"/>
              <a:gd name="connsiteX9" fmla="*/ 494391 w 2425938"/>
              <a:gd name="connsiteY9" fmla="*/ 960850 h 2603756"/>
              <a:gd name="connsiteX10" fmla="*/ 164159 w 2425938"/>
              <a:gd name="connsiteY10" fmla="*/ 1240277 h 2603756"/>
              <a:gd name="connsiteX11" fmla="*/ 112083 w 2425938"/>
              <a:gd name="connsiteY11" fmla="*/ 2088721 h 2603756"/>
              <a:gd name="connsiteX12" fmla="*/ 126055 w 2425938"/>
              <a:gd name="connsiteY12" fmla="*/ 2116664 h 2603756"/>
              <a:gd name="connsiteX13" fmla="*/ 405483 w 2425938"/>
              <a:gd name="connsiteY13" fmla="*/ 2446896 h 2603756"/>
              <a:gd name="connsiteX14" fmla="*/ 851296 w 2425938"/>
              <a:gd name="connsiteY14" fmla="*/ 2601851 h 2603756"/>
              <a:gd name="connsiteX15" fmla="*/ 1252656 w 2425938"/>
              <a:gd name="connsiteY15" fmla="*/ 2498971 h 2603756"/>
              <a:gd name="connsiteX16" fmla="*/ 2422441 w 2425938"/>
              <a:gd name="connsiteY16" fmla="*/ 1922334 h 2603756"/>
              <a:gd name="connsiteX17" fmla="*/ 2422441 w 2425938"/>
              <a:gd name="connsiteY17" fmla="*/ 1877880 h 2603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425938" h="2603756">
                <a:moveTo>
                  <a:pt x="2423711" y="1877880"/>
                </a:moveTo>
                <a:lnTo>
                  <a:pt x="1236144" y="2463408"/>
                </a:lnTo>
                <a:cubicBezTo>
                  <a:pt x="937665" y="2610742"/>
                  <a:pt x="665858" y="2594231"/>
                  <a:pt x="429615" y="2415143"/>
                </a:cubicBezTo>
                <a:cubicBezTo>
                  <a:pt x="251797" y="2280510"/>
                  <a:pt x="160348" y="2098882"/>
                  <a:pt x="160348" y="2097612"/>
                </a:cubicBezTo>
                <a:lnTo>
                  <a:pt x="146377" y="2069669"/>
                </a:lnTo>
                <a:cubicBezTo>
                  <a:pt x="-957" y="1771190"/>
                  <a:pt x="15554" y="1499383"/>
                  <a:pt x="194642" y="1263139"/>
                </a:cubicBezTo>
                <a:cubicBezTo>
                  <a:pt x="329275" y="1085322"/>
                  <a:pt x="509632" y="995143"/>
                  <a:pt x="512173" y="993873"/>
                </a:cubicBezTo>
                <a:lnTo>
                  <a:pt x="2423711" y="51440"/>
                </a:lnTo>
                <a:lnTo>
                  <a:pt x="2423711" y="9526"/>
                </a:lnTo>
                <a:lnTo>
                  <a:pt x="494391" y="960850"/>
                </a:lnTo>
                <a:cubicBezTo>
                  <a:pt x="486770" y="964660"/>
                  <a:pt x="303873" y="1056109"/>
                  <a:pt x="164159" y="1240277"/>
                </a:cubicBezTo>
                <a:cubicBezTo>
                  <a:pt x="34606" y="1411744"/>
                  <a:pt x="-80976" y="1697522"/>
                  <a:pt x="112083" y="2088721"/>
                </a:cubicBezTo>
                <a:lnTo>
                  <a:pt x="126055" y="2116664"/>
                </a:lnTo>
                <a:cubicBezTo>
                  <a:pt x="129865" y="2124284"/>
                  <a:pt x="221315" y="2307182"/>
                  <a:pt x="405483" y="2446896"/>
                </a:cubicBezTo>
                <a:cubicBezTo>
                  <a:pt x="510903" y="2526914"/>
                  <a:pt x="660778" y="2601851"/>
                  <a:pt x="851296" y="2601851"/>
                </a:cubicBezTo>
                <a:cubicBezTo>
                  <a:pt x="969418" y="2601851"/>
                  <a:pt x="1104052" y="2572638"/>
                  <a:pt x="1252656" y="2498971"/>
                </a:cubicBezTo>
                <a:lnTo>
                  <a:pt x="2422441" y="1922334"/>
                </a:lnTo>
                <a:lnTo>
                  <a:pt x="2422441" y="187788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49472789-B79C-464F-9D88-E51F8B5062D3}"/>
              </a:ext>
            </a:extLst>
          </p:cNvPr>
          <p:cNvSpPr/>
          <p:nvPr userDrawn="1"/>
        </p:nvSpPr>
        <p:spPr>
          <a:xfrm>
            <a:off x="-9526" y="2340318"/>
            <a:ext cx="2870483" cy="2540250"/>
          </a:xfrm>
          <a:custGeom>
            <a:avLst/>
            <a:gdLst>
              <a:gd name="connsiteX0" fmla="*/ 2481189 w 2870482"/>
              <a:gd name="connsiteY0" fmla="*/ 1064887 h 2540250"/>
              <a:gd name="connsiteX1" fmla="*/ 1678470 w 2870482"/>
              <a:gd name="connsiteY1" fmla="*/ 1461166 h 2540250"/>
              <a:gd name="connsiteX2" fmla="*/ 1406664 w 2870482"/>
              <a:gd name="connsiteY2" fmla="*/ 1448465 h 2540250"/>
              <a:gd name="connsiteX3" fmla="*/ 9526 w 2870482"/>
              <a:gd name="connsiteY3" fmla="*/ 2136873 h 2540250"/>
              <a:gd name="connsiteX4" fmla="*/ 9526 w 2870482"/>
              <a:gd name="connsiteY4" fmla="*/ 2531882 h 2540250"/>
              <a:gd name="connsiteX5" fmla="*/ 1564159 w 2870482"/>
              <a:gd name="connsiteY5" fmla="*/ 1765996 h 2540250"/>
              <a:gd name="connsiteX6" fmla="*/ 1708953 w 2870482"/>
              <a:gd name="connsiteY6" fmla="*/ 1500540 h 2540250"/>
              <a:gd name="connsiteX7" fmla="*/ 1706413 w 2870482"/>
              <a:gd name="connsiteY7" fmla="*/ 1494189 h 2540250"/>
              <a:gd name="connsiteX8" fmla="*/ 1703873 w 2870482"/>
              <a:gd name="connsiteY8" fmla="*/ 1490379 h 2540250"/>
              <a:gd name="connsiteX9" fmla="*/ 2498971 w 2870482"/>
              <a:gd name="connsiteY9" fmla="*/ 1097910 h 2540250"/>
              <a:gd name="connsiteX10" fmla="*/ 2806341 w 2870482"/>
              <a:gd name="connsiteY10" fmla="*/ 330755 h 2540250"/>
              <a:gd name="connsiteX11" fmla="*/ 2797450 w 2870482"/>
              <a:gd name="connsiteY11" fmla="*/ 312973 h 2540250"/>
              <a:gd name="connsiteX12" fmla="*/ 2002352 w 2870482"/>
              <a:gd name="connsiteY12" fmla="*/ 90701 h 2540250"/>
              <a:gd name="connsiteX13" fmla="*/ 9526 w 2870482"/>
              <a:gd name="connsiteY13" fmla="*/ 1073778 h 2540250"/>
              <a:gd name="connsiteX14" fmla="*/ 9526 w 2870482"/>
              <a:gd name="connsiteY14" fmla="*/ 1115692 h 2540250"/>
              <a:gd name="connsiteX15" fmla="*/ 2017594 w 2870482"/>
              <a:gd name="connsiteY15" fmla="*/ 124994 h 2540250"/>
              <a:gd name="connsiteX16" fmla="*/ 2582799 w 2870482"/>
              <a:gd name="connsiteY16" fmla="*/ 131345 h 2540250"/>
              <a:gd name="connsiteX17" fmla="*/ 2761887 w 2870482"/>
              <a:gd name="connsiteY17" fmla="*/ 330755 h 2540250"/>
              <a:gd name="connsiteX18" fmla="*/ 2770778 w 2870482"/>
              <a:gd name="connsiteY18" fmla="*/ 348536 h 2540250"/>
              <a:gd name="connsiteX19" fmla="*/ 2712352 w 2870482"/>
              <a:gd name="connsiteY19" fmla="*/ 876908 h 2540250"/>
              <a:gd name="connsiteX20" fmla="*/ 2481189 w 2870482"/>
              <a:gd name="connsiteY20" fmla="*/ 1064887 h 2540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70482" h="2540250">
                <a:moveTo>
                  <a:pt x="2481189" y="1064887"/>
                </a:moveTo>
                <a:lnTo>
                  <a:pt x="1678470" y="1461166"/>
                </a:lnTo>
                <a:cubicBezTo>
                  <a:pt x="1640366" y="1423062"/>
                  <a:pt x="1556538" y="1374797"/>
                  <a:pt x="1406664" y="1448465"/>
                </a:cubicBezTo>
                <a:lnTo>
                  <a:pt x="9526" y="2136873"/>
                </a:lnTo>
                <a:lnTo>
                  <a:pt x="9526" y="2531882"/>
                </a:lnTo>
                <a:lnTo>
                  <a:pt x="1564159" y="1765996"/>
                </a:lnTo>
                <a:cubicBezTo>
                  <a:pt x="1564159" y="1765996"/>
                  <a:pt x="1785161" y="1656765"/>
                  <a:pt x="1708953" y="1500540"/>
                </a:cubicBezTo>
                <a:lnTo>
                  <a:pt x="1706413" y="1494189"/>
                </a:lnTo>
                <a:cubicBezTo>
                  <a:pt x="1706413" y="1494189"/>
                  <a:pt x="1705143" y="1492919"/>
                  <a:pt x="1703873" y="1490379"/>
                </a:cubicBezTo>
                <a:lnTo>
                  <a:pt x="2498971" y="1097910"/>
                </a:lnTo>
                <a:cubicBezTo>
                  <a:pt x="2504051" y="1095370"/>
                  <a:pt x="3047665" y="819753"/>
                  <a:pt x="2806341" y="330755"/>
                </a:cubicBezTo>
                <a:lnTo>
                  <a:pt x="2797450" y="312973"/>
                </a:lnTo>
                <a:cubicBezTo>
                  <a:pt x="2794910" y="307892"/>
                  <a:pt x="2547236" y="-178566"/>
                  <a:pt x="2002352" y="90701"/>
                </a:cubicBezTo>
                <a:lnTo>
                  <a:pt x="9526" y="1073778"/>
                </a:lnTo>
                <a:lnTo>
                  <a:pt x="9526" y="1115692"/>
                </a:lnTo>
                <a:lnTo>
                  <a:pt x="2017594" y="124994"/>
                </a:lnTo>
                <a:cubicBezTo>
                  <a:pt x="2232245" y="19574"/>
                  <a:pt x="2421493" y="20844"/>
                  <a:pt x="2582799" y="131345"/>
                </a:cubicBezTo>
                <a:cubicBezTo>
                  <a:pt x="2703461" y="213903"/>
                  <a:pt x="2761887" y="329484"/>
                  <a:pt x="2761887" y="330755"/>
                </a:cubicBezTo>
                <a:lnTo>
                  <a:pt x="2770778" y="348536"/>
                </a:lnTo>
                <a:cubicBezTo>
                  <a:pt x="2864767" y="539055"/>
                  <a:pt x="2845715" y="716873"/>
                  <a:pt x="2712352" y="876908"/>
                </a:cubicBezTo>
                <a:cubicBezTo>
                  <a:pt x="2613282" y="998840"/>
                  <a:pt x="2482459" y="1063617"/>
                  <a:pt x="2481189" y="1064887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14624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AD403-A15F-4A2F-B050-AB874136E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588" y="1436921"/>
            <a:ext cx="5690680" cy="1517356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    </a:t>
            </a:r>
            <a:endParaRPr lang="ru-RU" dirty="0"/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5BB088E3-63C1-423F-A939-150B8E1F87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6259" y="5096662"/>
            <a:ext cx="4367531" cy="949829"/>
          </a:xfrm>
        </p:spPr>
        <p:txBody>
          <a:bodyPr>
            <a:noAutofit/>
          </a:bodyPr>
          <a:lstStyle>
            <a:lvl1pPr marL="0" indent="0" algn="l">
              <a:buNone/>
              <a:defRPr sz="2800" b="0" i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dirty="0"/>
              <a:t>Month</a:t>
            </a:r>
            <a:br>
              <a:rPr lang="en-US" dirty="0"/>
            </a:br>
            <a:r>
              <a:rPr lang="en-US" dirty="0"/>
              <a:t>20XX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7A7AFAC-3F6D-48D1-A100-148792529BC6}"/>
              </a:ext>
            </a:extLst>
          </p:cNvPr>
          <p:cNvSpPr/>
          <p:nvPr/>
        </p:nvSpPr>
        <p:spPr>
          <a:xfrm>
            <a:off x="8069104" y="5422164"/>
            <a:ext cx="736673" cy="736673"/>
          </a:xfrm>
          <a:custGeom>
            <a:avLst/>
            <a:gdLst>
              <a:gd name="connsiteX0" fmla="*/ 372146 w 736672"/>
              <a:gd name="connsiteY0" fmla="*/ 731592 h 736672"/>
              <a:gd name="connsiteX1" fmla="*/ 731592 w 736672"/>
              <a:gd name="connsiteY1" fmla="*/ 372147 h 736672"/>
              <a:gd name="connsiteX2" fmla="*/ 372146 w 736672"/>
              <a:gd name="connsiteY2" fmla="*/ 12701 h 736672"/>
              <a:gd name="connsiteX3" fmla="*/ 12701 w 736672"/>
              <a:gd name="connsiteY3" fmla="*/ 372147 h 736672"/>
              <a:gd name="connsiteX4" fmla="*/ 372146 w 736672"/>
              <a:gd name="connsiteY4" fmla="*/ 731592 h 73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6672" h="736672">
                <a:moveTo>
                  <a:pt x="372146" y="731592"/>
                </a:moveTo>
                <a:cubicBezTo>
                  <a:pt x="570286" y="731592"/>
                  <a:pt x="731592" y="570286"/>
                  <a:pt x="731592" y="372147"/>
                </a:cubicBezTo>
                <a:cubicBezTo>
                  <a:pt x="731592" y="174007"/>
                  <a:pt x="570286" y="12701"/>
                  <a:pt x="372146" y="12701"/>
                </a:cubicBezTo>
                <a:cubicBezTo>
                  <a:pt x="174007" y="12701"/>
                  <a:pt x="12701" y="174007"/>
                  <a:pt x="12701" y="372147"/>
                </a:cubicBezTo>
                <a:cubicBezTo>
                  <a:pt x="12701" y="570286"/>
                  <a:pt x="174007" y="731592"/>
                  <a:pt x="372146" y="731592"/>
                </a:cubicBezTo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1A4F88F-4E35-4BB3-AD24-CAC580C12F96}"/>
              </a:ext>
            </a:extLst>
          </p:cNvPr>
          <p:cNvSpPr/>
          <p:nvPr/>
        </p:nvSpPr>
        <p:spPr>
          <a:xfrm>
            <a:off x="9029960" y="3463631"/>
            <a:ext cx="3175313" cy="2946690"/>
          </a:xfrm>
          <a:custGeom>
            <a:avLst/>
            <a:gdLst>
              <a:gd name="connsiteX0" fmla="*/ 3162808 w 3175312"/>
              <a:gd name="connsiteY0" fmla="*/ 12701 h 2946690"/>
              <a:gd name="connsiteX1" fmla="*/ 487925 w 3175312"/>
              <a:gd name="connsiteY1" fmla="*/ 1331091 h 2946690"/>
              <a:gd name="connsiteX2" fmla="*/ 113238 w 3175312"/>
              <a:gd name="connsiteY2" fmla="*/ 2433559 h 2946690"/>
              <a:gd name="connsiteX3" fmla="*/ 127209 w 3175312"/>
              <a:gd name="connsiteY3" fmla="*/ 2461502 h 2946690"/>
              <a:gd name="connsiteX4" fmla="*/ 1229677 w 3175312"/>
              <a:gd name="connsiteY4" fmla="*/ 2836189 h 2946690"/>
              <a:gd name="connsiteX5" fmla="*/ 3162808 w 3175312"/>
              <a:gd name="connsiteY5" fmla="*/ 1882325 h 2946690"/>
              <a:gd name="connsiteX6" fmla="*/ 3162808 w 3175312"/>
              <a:gd name="connsiteY6" fmla="*/ 12701 h 29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75312" h="2946690">
                <a:moveTo>
                  <a:pt x="3162808" y="12701"/>
                </a:moveTo>
                <a:lnTo>
                  <a:pt x="487925" y="1331091"/>
                </a:lnTo>
                <a:cubicBezTo>
                  <a:pt x="487925" y="1331091"/>
                  <a:pt x="-250018" y="1695617"/>
                  <a:pt x="113238" y="2433559"/>
                </a:cubicBezTo>
                <a:lnTo>
                  <a:pt x="127209" y="2461502"/>
                </a:lnTo>
                <a:cubicBezTo>
                  <a:pt x="127209" y="2461502"/>
                  <a:pt x="491735" y="3199445"/>
                  <a:pt x="1229677" y="2836189"/>
                </a:cubicBezTo>
                <a:lnTo>
                  <a:pt x="3162808" y="1882325"/>
                </a:lnTo>
                <a:lnTo>
                  <a:pt x="3162808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2CE00E-F2AB-4099-8BB8-F109C4F2EFDB}"/>
              </a:ext>
            </a:extLst>
          </p:cNvPr>
          <p:cNvSpPr/>
          <p:nvPr/>
        </p:nvSpPr>
        <p:spPr>
          <a:xfrm>
            <a:off x="11043829" y="4566099"/>
            <a:ext cx="1155814" cy="863685"/>
          </a:xfrm>
          <a:custGeom>
            <a:avLst/>
            <a:gdLst>
              <a:gd name="connsiteX0" fmla="*/ 1148938 w 1155813"/>
              <a:gd name="connsiteY0" fmla="*/ 12701 h 863685"/>
              <a:gd name="connsiteX1" fmla="*/ 173482 w 1155813"/>
              <a:gd name="connsiteY1" fmla="*/ 494079 h 863685"/>
              <a:gd name="connsiteX2" fmla="*/ 28688 w 1155813"/>
              <a:gd name="connsiteY2" fmla="*/ 759535 h 863685"/>
              <a:gd name="connsiteX3" fmla="*/ 31228 w 1155813"/>
              <a:gd name="connsiteY3" fmla="*/ 765885 h 863685"/>
              <a:gd name="connsiteX4" fmla="*/ 329707 w 1155813"/>
              <a:gd name="connsiteY4" fmla="*/ 812880 h 863685"/>
              <a:gd name="connsiteX5" fmla="*/ 1147668 w 1155813"/>
              <a:gd name="connsiteY5" fmla="*/ 408980 h 863685"/>
              <a:gd name="connsiteX6" fmla="*/ 1147668 w 1155813"/>
              <a:gd name="connsiteY6" fmla="*/ 12701 h 863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5813" h="863685">
                <a:moveTo>
                  <a:pt x="1148938" y="12701"/>
                </a:moveTo>
                <a:lnTo>
                  <a:pt x="173482" y="494079"/>
                </a:lnTo>
                <a:cubicBezTo>
                  <a:pt x="173482" y="494079"/>
                  <a:pt x="-47520" y="603309"/>
                  <a:pt x="28688" y="759535"/>
                </a:cubicBezTo>
                <a:lnTo>
                  <a:pt x="31228" y="765885"/>
                </a:lnTo>
                <a:cubicBezTo>
                  <a:pt x="31228" y="765885"/>
                  <a:pt x="108705" y="922111"/>
                  <a:pt x="329707" y="812880"/>
                </a:cubicBezTo>
                <a:lnTo>
                  <a:pt x="1147668" y="408980"/>
                </a:lnTo>
                <a:lnTo>
                  <a:pt x="1147668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0920EEC-7CE3-4708-93D2-53699D17E5E3}"/>
              </a:ext>
            </a:extLst>
          </p:cNvPr>
          <p:cNvSpPr/>
          <p:nvPr/>
        </p:nvSpPr>
        <p:spPr>
          <a:xfrm>
            <a:off x="10743661" y="-1689"/>
            <a:ext cx="1447943" cy="1003399"/>
          </a:xfrm>
          <a:custGeom>
            <a:avLst/>
            <a:gdLst>
              <a:gd name="connsiteX0" fmla="*/ 1446147 w 1447942"/>
              <a:gd name="connsiteY0" fmla="*/ 12701 h 1003398"/>
              <a:gd name="connsiteX1" fmla="*/ 173482 w 1447942"/>
              <a:gd name="connsiteY1" fmla="*/ 640143 h 1003398"/>
              <a:gd name="connsiteX2" fmla="*/ 28688 w 1447942"/>
              <a:gd name="connsiteY2" fmla="*/ 905599 h 1003398"/>
              <a:gd name="connsiteX3" fmla="*/ 31227 w 1447942"/>
              <a:gd name="connsiteY3" fmla="*/ 911950 h 1003398"/>
              <a:gd name="connsiteX4" fmla="*/ 329707 w 1447942"/>
              <a:gd name="connsiteY4" fmla="*/ 958944 h 1003398"/>
              <a:gd name="connsiteX5" fmla="*/ 1446147 w 1447942"/>
              <a:gd name="connsiteY5" fmla="*/ 408980 h 1003398"/>
              <a:gd name="connsiteX6" fmla="*/ 1446147 w 1447942"/>
              <a:gd name="connsiteY6" fmla="*/ 12701 h 100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47942" h="1003398">
                <a:moveTo>
                  <a:pt x="1446147" y="12701"/>
                </a:moveTo>
                <a:lnTo>
                  <a:pt x="173482" y="640143"/>
                </a:lnTo>
                <a:cubicBezTo>
                  <a:pt x="173482" y="640143"/>
                  <a:pt x="-47520" y="749374"/>
                  <a:pt x="28688" y="905599"/>
                </a:cubicBezTo>
                <a:lnTo>
                  <a:pt x="31227" y="911950"/>
                </a:lnTo>
                <a:cubicBezTo>
                  <a:pt x="31227" y="911950"/>
                  <a:pt x="108705" y="1068175"/>
                  <a:pt x="329707" y="958944"/>
                </a:cubicBezTo>
                <a:lnTo>
                  <a:pt x="1446147" y="408980"/>
                </a:lnTo>
                <a:lnTo>
                  <a:pt x="1446147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DF8B751-9294-46D5-B390-5D322195540F}"/>
              </a:ext>
            </a:extLst>
          </p:cNvPr>
          <p:cNvSpPr/>
          <p:nvPr/>
        </p:nvSpPr>
        <p:spPr>
          <a:xfrm>
            <a:off x="6536780" y="-12701"/>
            <a:ext cx="4978890" cy="2133810"/>
          </a:xfrm>
          <a:custGeom>
            <a:avLst/>
            <a:gdLst>
              <a:gd name="connsiteX0" fmla="*/ 2515401 w 4978890"/>
              <a:gd name="connsiteY0" fmla="*/ 12701 h 2133810"/>
              <a:gd name="connsiteX1" fmla="*/ 371430 w 4978890"/>
              <a:gd name="connsiteY1" fmla="*/ 1069445 h 2133810"/>
              <a:gd name="connsiteX2" fmla="*/ 72951 w 4978890"/>
              <a:gd name="connsiteY2" fmla="*/ 1811198 h 2133810"/>
              <a:gd name="connsiteX3" fmla="*/ 81841 w 4978890"/>
              <a:gd name="connsiteY3" fmla="*/ 1828980 h 2133810"/>
              <a:gd name="connsiteX4" fmla="*/ 851538 w 4978890"/>
              <a:gd name="connsiteY4" fmla="*/ 2043631 h 2133810"/>
              <a:gd name="connsiteX5" fmla="*/ 4968013 w 4978890"/>
              <a:gd name="connsiteY5" fmla="*/ 12701 h 2133810"/>
              <a:gd name="connsiteX6" fmla="*/ 2515401 w 4978890"/>
              <a:gd name="connsiteY6" fmla="*/ 12701 h 2133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78890" h="2133810">
                <a:moveTo>
                  <a:pt x="2515401" y="12701"/>
                </a:moveTo>
                <a:lnTo>
                  <a:pt x="371430" y="1069445"/>
                </a:lnTo>
                <a:cubicBezTo>
                  <a:pt x="371430" y="1069445"/>
                  <a:pt x="-163293" y="1333631"/>
                  <a:pt x="72951" y="1811198"/>
                </a:cubicBezTo>
                <a:lnTo>
                  <a:pt x="81841" y="1828980"/>
                </a:lnTo>
                <a:cubicBezTo>
                  <a:pt x="81841" y="1828980"/>
                  <a:pt x="316814" y="2306547"/>
                  <a:pt x="851538" y="2043631"/>
                </a:cubicBezTo>
                <a:lnTo>
                  <a:pt x="4968013" y="12701"/>
                </a:lnTo>
                <a:lnTo>
                  <a:pt x="2515401" y="1270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0F651C6-BE74-4133-ABA8-316072D4F5B5}"/>
              </a:ext>
            </a:extLst>
          </p:cNvPr>
          <p:cNvSpPr/>
          <p:nvPr/>
        </p:nvSpPr>
        <p:spPr>
          <a:xfrm>
            <a:off x="6518963" y="-12701"/>
            <a:ext cx="5029695" cy="2146511"/>
          </a:xfrm>
          <a:custGeom>
            <a:avLst/>
            <a:gdLst>
              <a:gd name="connsiteX0" fmla="*/ 4942646 w 5029695"/>
              <a:gd name="connsiteY0" fmla="*/ 12701 h 2146511"/>
              <a:gd name="connsiteX1" fmla="*/ 860464 w 5029695"/>
              <a:gd name="connsiteY1" fmla="*/ 2025849 h 2146511"/>
              <a:gd name="connsiteX2" fmla="*/ 295258 w 5029695"/>
              <a:gd name="connsiteY2" fmla="*/ 2019499 h 2146511"/>
              <a:gd name="connsiteX3" fmla="*/ 116171 w 5029695"/>
              <a:gd name="connsiteY3" fmla="*/ 1820089 h 2146511"/>
              <a:gd name="connsiteX4" fmla="*/ 107280 w 5029695"/>
              <a:gd name="connsiteY4" fmla="*/ 1802307 h 2146511"/>
              <a:gd name="connsiteX5" fmla="*/ 165705 w 5029695"/>
              <a:gd name="connsiteY5" fmla="*/ 1273935 h 2146511"/>
              <a:gd name="connsiteX6" fmla="*/ 398138 w 5029695"/>
              <a:gd name="connsiteY6" fmla="*/ 1085957 h 2146511"/>
              <a:gd name="connsiteX7" fmla="*/ 2576402 w 5029695"/>
              <a:gd name="connsiteY7" fmla="*/ 12701 h 2146511"/>
              <a:gd name="connsiteX8" fmla="*/ 2490034 w 5029695"/>
              <a:gd name="connsiteY8" fmla="*/ 12701 h 2146511"/>
              <a:gd name="connsiteX9" fmla="*/ 381626 w 5029695"/>
              <a:gd name="connsiteY9" fmla="*/ 1052934 h 2146511"/>
              <a:gd name="connsiteX10" fmla="*/ 137762 w 5029695"/>
              <a:gd name="connsiteY10" fmla="*/ 1249803 h 2146511"/>
              <a:gd name="connsiteX11" fmla="*/ 74256 w 5029695"/>
              <a:gd name="connsiteY11" fmla="*/ 1820089 h 2146511"/>
              <a:gd name="connsiteX12" fmla="*/ 83147 w 5029695"/>
              <a:gd name="connsiteY12" fmla="*/ 1837871 h 2146511"/>
              <a:gd name="connsiteX13" fmla="*/ 273666 w 5029695"/>
              <a:gd name="connsiteY13" fmla="*/ 2051252 h 2146511"/>
              <a:gd name="connsiteX14" fmla="*/ 564525 w 5029695"/>
              <a:gd name="connsiteY14" fmla="*/ 2141431 h 2146511"/>
              <a:gd name="connsiteX15" fmla="*/ 878246 w 5029695"/>
              <a:gd name="connsiteY15" fmla="*/ 2060143 h 2146511"/>
              <a:gd name="connsiteX16" fmla="*/ 5029014 w 5029695"/>
              <a:gd name="connsiteY16" fmla="*/ 12701 h 2146511"/>
              <a:gd name="connsiteX17" fmla="*/ 4942646 w 5029695"/>
              <a:gd name="connsiteY17" fmla="*/ 12701 h 2146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029695" h="2146511">
                <a:moveTo>
                  <a:pt x="4942646" y="12701"/>
                </a:moveTo>
                <a:lnTo>
                  <a:pt x="860464" y="2025849"/>
                </a:lnTo>
                <a:cubicBezTo>
                  <a:pt x="645812" y="2131270"/>
                  <a:pt x="456564" y="2130000"/>
                  <a:pt x="295258" y="2019499"/>
                </a:cubicBezTo>
                <a:cubicBezTo>
                  <a:pt x="174596" y="1936941"/>
                  <a:pt x="116171" y="1821359"/>
                  <a:pt x="116171" y="1820089"/>
                </a:cubicBezTo>
                <a:lnTo>
                  <a:pt x="107280" y="1802307"/>
                </a:lnTo>
                <a:cubicBezTo>
                  <a:pt x="13290" y="1611789"/>
                  <a:pt x="32342" y="1433971"/>
                  <a:pt x="165705" y="1273935"/>
                </a:cubicBezTo>
                <a:cubicBezTo>
                  <a:pt x="266045" y="1153274"/>
                  <a:pt x="395598" y="1087227"/>
                  <a:pt x="398138" y="1085957"/>
                </a:cubicBezTo>
                <a:lnTo>
                  <a:pt x="2576402" y="12701"/>
                </a:lnTo>
                <a:lnTo>
                  <a:pt x="2490034" y="12701"/>
                </a:lnTo>
                <a:lnTo>
                  <a:pt x="381626" y="1052934"/>
                </a:lnTo>
                <a:cubicBezTo>
                  <a:pt x="376546" y="1055474"/>
                  <a:pt x="243183" y="1121520"/>
                  <a:pt x="137762" y="1249803"/>
                </a:cubicBezTo>
                <a:cubicBezTo>
                  <a:pt x="38693" y="1369195"/>
                  <a:pt x="-51486" y="1564794"/>
                  <a:pt x="74256" y="1820089"/>
                </a:cubicBezTo>
                <a:lnTo>
                  <a:pt x="83147" y="1837871"/>
                </a:lnTo>
                <a:cubicBezTo>
                  <a:pt x="85687" y="1842952"/>
                  <a:pt x="145383" y="1962343"/>
                  <a:pt x="273666" y="2051252"/>
                </a:cubicBezTo>
                <a:cubicBezTo>
                  <a:pt x="342253" y="2098247"/>
                  <a:pt x="440053" y="2141431"/>
                  <a:pt x="564525" y="2141431"/>
                </a:cubicBezTo>
                <a:cubicBezTo>
                  <a:pt x="654703" y="2141431"/>
                  <a:pt x="758854" y="2119839"/>
                  <a:pt x="878246" y="2060143"/>
                </a:cubicBezTo>
                <a:lnTo>
                  <a:pt x="5029014" y="12701"/>
                </a:lnTo>
                <a:lnTo>
                  <a:pt x="4942646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2A3D73F7-77EC-4576-B541-20C032F462D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86259" y="3425363"/>
            <a:ext cx="3629300" cy="949829"/>
          </a:xfrm>
        </p:spPr>
        <p:txBody>
          <a:bodyPr>
            <a:normAutofit/>
          </a:bodyPr>
          <a:lstStyle>
            <a:lvl1pPr marL="0" indent="0">
              <a:buNone/>
              <a:defRPr sz="2800" b="1" i="0"/>
            </a:lvl1pPr>
          </a:lstStyle>
          <a:p>
            <a:pPr lvl="0"/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agline</a:t>
            </a:r>
          </a:p>
        </p:txBody>
      </p:sp>
      <p:sp>
        <p:nvSpPr>
          <p:cNvPr id="40" name="Graphic 37">
            <a:extLst>
              <a:ext uri="{FF2B5EF4-FFF2-40B4-BE49-F238E27FC236}">
                <a16:creationId xmlns:a16="http://schemas.microsoft.com/office/drawing/2014/main" id="{9F75ED2D-7077-4753-B623-4B9A718EB224}"/>
              </a:ext>
            </a:extLst>
          </p:cNvPr>
          <p:cNvSpPr/>
          <p:nvPr userDrawn="1"/>
        </p:nvSpPr>
        <p:spPr>
          <a:xfrm>
            <a:off x="895717" y="3124629"/>
            <a:ext cx="2158296" cy="151200"/>
          </a:xfrm>
          <a:custGeom>
            <a:avLst/>
            <a:gdLst>
              <a:gd name="connsiteX0" fmla="*/ 2087180 w 2158295"/>
              <a:gd name="connsiteY0" fmla="*/ 153601 h 165045"/>
              <a:gd name="connsiteX1" fmla="*/ 82504 w 2158295"/>
              <a:gd name="connsiteY1" fmla="*/ 153601 h 165045"/>
              <a:gd name="connsiteX2" fmla="*/ 12677 w 2158295"/>
              <a:gd name="connsiteY2" fmla="*/ 83774 h 165045"/>
              <a:gd name="connsiteX3" fmla="*/ 12677 w 2158295"/>
              <a:gd name="connsiteY3" fmla="*/ 83774 h 165045"/>
              <a:gd name="connsiteX4" fmla="*/ 82504 w 2158295"/>
              <a:gd name="connsiteY4" fmla="*/ 12677 h 165045"/>
              <a:gd name="connsiteX5" fmla="*/ 2087180 w 2158295"/>
              <a:gd name="connsiteY5" fmla="*/ 12677 h 165045"/>
              <a:gd name="connsiteX6" fmla="*/ 2157008 w 2158295"/>
              <a:gd name="connsiteY6" fmla="*/ 82504 h 165045"/>
              <a:gd name="connsiteX7" fmla="*/ 2157008 w 2158295"/>
              <a:gd name="connsiteY7" fmla="*/ 82504 h 165045"/>
              <a:gd name="connsiteX8" fmla="*/ 2087180 w 2158295"/>
              <a:gd name="connsiteY8" fmla="*/ 153601 h 165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58295" h="165045">
                <a:moveTo>
                  <a:pt x="2087180" y="153601"/>
                </a:moveTo>
                <a:lnTo>
                  <a:pt x="82504" y="153601"/>
                </a:lnTo>
                <a:cubicBezTo>
                  <a:pt x="44417" y="153601"/>
                  <a:pt x="12677" y="121861"/>
                  <a:pt x="12677" y="83774"/>
                </a:cubicBezTo>
                <a:lnTo>
                  <a:pt x="12677" y="83774"/>
                </a:lnTo>
                <a:cubicBezTo>
                  <a:pt x="12677" y="44417"/>
                  <a:pt x="44417" y="12677"/>
                  <a:pt x="82504" y="12677"/>
                </a:cubicBezTo>
                <a:lnTo>
                  <a:pt x="2087180" y="12677"/>
                </a:lnTo>
                <a:cubicBezTo>
                  <a:pt x="2125268" y="12677"/>
                  <a:pt x="2157008" y="44417"/>
                  <a:pt x="2157008" y="82504"/>
                </a:cubicBezTo>
                <a:lnTo>
                  <a:pt x="2157008" y="82504"/>
                </a:lnTo>
                <a:cubicBezTo>
                  <a:pt x="2157008" y="121861"/>
                  <a:pt x="2126538" y="153601"/>
                  <a:pt x="2087180" y="15360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2681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2" name="Graphic 36">
            <a:extLst>
              <a:ext uri="{FF2B5EF4-FFF2-40B4-BE49-F238E27FC236}">
                <a16:creationId xmlns:a16="http://schemas.microsoft.com/office/drawing/2014/main" id="{21FF5BCF-BC53-4C3F-8B7F-7077B35ADCA8}"/>
              </a:ext>
            </a:extLst>
          </p:cNvPr>
          <p:cNvSpPr/>
          <p:nvPr userDrawn="1"/>
        </p:nvSpPr>
        <p:spPr>
          <a:xfrm>
            <a:off x="-7816" y="5057878"/>
            <a:ext cx="715108" cy="949829"/>
          </a:xfrm>
          <a:custGeom>
            <a:avLst/>
            <a:gdLst>
              <a:gd name="connsiteX0" fmla="*/ 217522 w 723600"/>
              <a:gd name="connsiteY0" fmla="*/ 9082 h 1015200"/>
              <a:gd name="connsiteX1" fmla="*/ 9082 w 723600"/>
              <a:gd name="connsiteY1" fmla="*/ 9082 h 1015200"/>
              <a:gd name="connsiteX2" fmla="*/ 9082 w 723600"/>
              <a:gd name="connsiteY2" fmla="*/ 1010242 h 1015200"/>
              <a:gd name="connsiteX3" fmla="*/ 217522 w 723600"/>
              <a:gd name="connsiteY3" fmla="*/ 1010242 h 1015200"/>
              <a:gd name="connsiteX4" fmla="*/ 716482 w 723600"/>
              <a:gd name="connsiteY4" fmla="*/ 518842 h 1015200"/>
              <a:gd name="connsiteX5" fmla="*/ 716482 w 723600"/>
              <a:gd name="connsiteY5" fmla="*/ 500482 h 1015200"/>
              <a:gd name="connsiteX6" fmla="*/ 217522 w 723600"/>
              <a:gd name="connsiteY6" fmla="*/ 9082 h 10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3600" h="1015200">
                <a:moveTo>
                  <a:pt x="217522" y="9082"/>
                </a:moveTo>
                <a:lnTo>
                  <a:pt x="9082" y="9082"/>
                </a:lnTo>
                <a:lnTo>
                  <a:pt x="9082" y="1010242"/>
                </a:lnTo>
                <a:lnTo>
                  <a:pt x="217522" y="1010242"/>
                </a:lnTo>
                <a:cubicBezTo>
                  <a:pt x="217522" y="1010242"/>
                  <a:pt x="716482" y="1010242"/>
                  <a:pt x="716482" y="518842"/>
                </a:cubicBezTo>
                <a:lnTo>
                  <a:pt x="716482" y="500482"/>
                </a:lnTo>
                <a:cubicBezTo>
                  <a:pt x="716482" y="500482"/>
                  <a:pt x="716482" y="9082"/>
                  <a:pt x="217522" y="9082"/>
                </a:cubicBezTo>
                <a:close/>
              </a:path>
            </a:pathLst>
          </a:custGeom>
          <a:solidFill>
            <a:schemeClr val="accent3"/>
          </a:solidFill>
          <a:ln w="106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C7B70A1-A813-470C-A829-7CC44559C94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14953" y="0"/>
            <a:ext cx="7585924" cy="5949573"/>
          </a:xfrm>
          <a:custGeom>
            <a:avLst/>
            <a:gdLst>
              <a:gd name="connsiteX0" fmla="*/ 6933229 w 7577047"/>
              <a:gd name="connsiteY0" fmla="*/ 0 h 5937736"/>
              <a:gd name="connsiteX1" fmla="*/ 7577047 w 7577047"/>
              <a:gd name="connsiteY1" fmla="*/ 0 h 5937736"/>
              <a:gd name="connsiteX2" fmla="*/ 6304235 w 7577047"/>
              <a:gd name="connsiteY2" fmla="*/ 626666 h 5937736"/>
              <a:gd name="connsiteX3" fmla="*/ 6159164 w 7577047"/>
              <a:gd name="connsiteY3" fmla="*/ 891545 h 5937736"/>
              <a:gd name="connsiteX4" fmla="*/ 6161282 w 7577047"/>
              <a:gd name="connsiteY4" fmla="*/ 898006 h 5937736"/>
              <a:gd name="connsiteX5" fmla="*/ 6459895 w 7577047"/>
              <a:gd name="connsiteY5" fmla="*/ 944306 h 5937736"/>
              <a:gd name="connsiteX6" fmla="*/ 7577047 w 7577047"/>
              <a:gd name="connsiteY6" fmla="*/ 395166 h 5937736"/>
              <a:gd name="connsiteX7" fmla="*/ 7577047 w 7577047"/>
              <a:gd name="connsiteY7" fmla="*/ 3249617 h 5937736"/>
              <a:gd name="connsiteX8" fmla="*/ 2564157 w 7577047"/>
              <a:gd name="connsiteY8" fmla="*/ 5723977 h 5937736"/>
              <a:gd name="connsiteX9" fmla="*/ 233491 w 7577047"/>
              <a:gd name="connsiteY9" fmla="*/ 4932570 h 5937736"/>
              <a:gd name="connsiteX10" fmla="*/ 213372 w 7577047"/>
              <a:gd name="connsiteY10" fmla="*/ 4891653 h 5937736"/>
              <a:gd name="connsiteX11" fmla="*/ 1004379 w 7577047"/>
              <a:gd name="connsiteY11" fmla="*/ 2559423 h 5937736"/>
              <a:gd name="connsiteX12" fmla="*/ 2132121 w 7577047"/>
              <a:gd name="connsiteY12" fmla="*/ 2002747 h 5937736"/>
              <a:gd name="connsiteX13" fmla="*/ 2176595 w 7577047"/>
              <a:gd name="connsiteY13" fmla="*/ 2037202 h 5937736"/>
              <a:gd name="connsiteX14" fmla="*/ 2467796 w 7577047"/>
              <a:gd name="connsiteY14" fmla="*/ 2127649 h 5937736"/>
              <a:gd name="connsiteX15" fmla="*/ 2781234 w 7577047"/>
              <a:gd name="connsiteY15" fmla="*/ 2046893 h 5937736"/>
              <a:gd name="connsiteX0" fmla="*/ 6948025 w 7577047"/>
              <a:gd name="connsiteY0" fmla="*/ 0 h 5949573"/>
              <a:gd name="connsiteX1" fmla="*/ 7577047 w 7577047"/>
              <a:gd name="connsiteY1" fmla="*/ 11837 h 5949573"/>
              <a:gd name="connsiteX2" fmla="*/ 6304235 w 7577047"/>
              <a:gd name="connsiteY2" fmla="*/ 638503 h 5949573"/>
              <a:gd name="connsiteX3" fmla="*/ 6159164 w 7577047"/>
              <a:gd name="connsiteY3" fmla="*/ 903382 h 5949573"/>
              <a:gd name="connsiteX4" fmla="*/ 6161282 w 7577047"/>
              <a:gd name="connsiteY4" fmla="*/ 909843 h 5949573"/>
              <a:gd name="connsiteX5" fmla="*/ 6459895 w 7577047"/>
              <a:gd name="connsiteY5" fmla="*/ 956143 h 5949573"/>
              <a:gd name="connsiteX6" fmla="*/ 7577047 w 7577047"/>
              <a:gd name="connsiteY6" fmla="*/ 407003 h 5949573"/>
              <a:gd name="connsiteX7" fmla="*/ 7577047 w 7577047"/>
              <a:gd name="connsiteY7" fmla="*/ 3261454 h 5949573"/>
              <a:gd name="connsiteX8" fmla="*/ 2564157 w 7577047"/>
              <a:gd name="connsiteY8" fmla="*/ 5735814 h 5949573"/>
              <a:gd name="connsiteX9" fmla="*/ 233491 w 7577047"/>
              <a:gd name="connsiteY9" fmla="*/ 4944407 h 5949573"/>
              <a:gd name="connsiteX10" fmla="*/ 213372 w 7577047"/>
              <a:gd name="connsiteY10" fmla="*/ 4903490 h 5949573"/>
              <a:gd name="connsiteX11" fmla="*/ 1004379 w 7577047"/>
              <a:gd name="connsiteY11" fmla="*/ 2571260 h 5949573"/>
              <a:gd name="connsiteX12" fmla="*/ 2132121 w 7577047"/>
              <a:gd name="connsiteY12" fmla="*/ 2014584 h 5949573"/>
              <a:gd name="connsiteX13" fmla="*/ 2176595 w 7577047"/>
              <a:gd name="connsiteY13" fmla="*/ 2049039 h 5949573"/>
              <a:gd name="connsiteX14" fmla="*/ 2467796 w 7577047"/>
              <a:gd name="connsiteY14" fmla="*/ 2139486 h 5949573"/>
              <a:gd name="connsiteX15" fmla="*/ 2781234 w 7577047"/>
              <a:gd name="connsiteY15" fmla="*/ 2058730 h 5949573"/>
              <a:gd name="connsiteX16" fmla="*/ 6948025 w 7577047"/>
              <a:gd name="connsiteY16" fmla="*/ 0 h 5949573"/>
              <a:gd name="connsiteX0" fmla="*/ 6948025 w 7580006"/>
              <a:gd name="connsiteY0" fmla="*/ 0 h 5949573"/>
              <a:gd name="connsiteX1" fmla="*/ 7580006 w 7580006"/>
              <a:gd name="connsiteY1" fmla="*/ 0 h 5949573"/>
              <a:gd name="connsiteX2" fmla="*/ 6304235 w 7580006"/>
              <a:gd name="connsiteY2" fmla="*/ 638503 h 5949573"/>
              <a:gd name="connsiteX3" fmla="*/ 6159164 w 7580006"/>
              <a:gd name="connsiteY3" fmla="*/ 903382 h 5949573"/>
              <a:gd name="connsiteX4" fmla="*/ 6161282 w 7580006"/>
              <a:gd name="connsiteY4" fmla="*/ 909843 h 5949573"/>
              <a:gd name="connsiteX5" fmla="*/ 6459895 w 7580006"/>
              <a:gd name="connsiteY5" fmla="*/ 956143 h 5949573"/>
              <a:gd name="connsiteX6" fmla="*/ 7577047 w 7580006"/>
              <a:gd name="connsiteY6" fmla="*/ 407003 h 5949573"/>
              <a:gd name="connsiteX7" fmla="*/ 7577047 w 7580006"/>
              <a:gd name="connsiteY7" fmla="*/ 3261454 h 5949573"/>
              <a:gd name="connsiteX8" fmla="*/ 2564157 w 7580006"/>
              <a:gd name="connsiteY8" fmla="*/ 5735814 h 5949573"/>
              <a:gd name="connsiteX9" fmla="*/ 233491 w 7580006"/>
              <a:gd name="connsiteY9" fmla="*/ 4944407 h 5949573"/>
              <a:gd name="connsiteX10" fmla="*/ 213372 w 7580006"/>
              <a:gd name="connsiteY10" fmla="*/ 4903490 h 5949573"/>
              <a:gd name="connsiteX11" fmla="*/ 1004379 w 7580006"/>
              <a:gd name="connsiteY11" fmla="*/ 2571260 h 5949573"/>
              <a:gd name="connsiteX12" fmla="*/ 2132121 w 7580006"/>
              <a:gd name="connsiteY12" fmla="*/ 2014584 h 5949573"/>
              <a:gd name="connsiteX13" fmla="*/ 2176595 w 7580006"/>
              <a:gd name="connsiteY13" fmla="*/ 2049039 h 5949573"/>
              <a:gd name="connsiteX14" fmla="*/ 2467796 w 7580006"/>
              <a:gd name="connsiteY14" fmla="*/ 2139486 h 5949573"/>
              <a:gd name="connsiteX15" fmla="*/ 2781234 w 7580006"/>
              <a:gd name="connsiteY15" fmla="*/ 2058730 h 5949573"/>
              <a:gd name="connsiteX16" fmla="*/ 6948025 w 7580006"/>
              <a:gd name="connsiteY16" fmla="*/ 0 h 5949573"/>
              <a:gd name="connsiteX0" fmla="*/ 6948025 w 7585924"/>
              <a:gd name="connsiteY0" fmla="*/ 0 h 5949573"/>
              <a:gd name="connsiteX1" fmla="*/ 7585924 w 7585924"/>
              <a:gd name="connsiteY1" fmla="*/ 0 h 5949573"/>
              <a:gd name="connsiteX2" fmla="*/ 6304235 w 7585924"/>
              <a:gd name="connsiteY2" fmla="*/ 638503 h 5949573"/>
              <a:gd name="connsiteX3" fmla="*/ 6159164 w 7585924"/>
              <a:gd name="connsiteY3" fmla="*/ 903382 h 5949573"/>
              <a:gd name="connsiteX4" fmla="*/ 6161282 w 7585924"/>
              <a:gd name="connsiteY4" fmla="*/ 909843 h 5949573"/>
              <a:gd name="connsiteX5" fmla="*/ 6459895 w 7585924"/>
              <a:gd name="connsiteY5" fmla="*/ 956143 h 5949573"/>
              <a:gd name="connsiteX6" fmla="*/ 7577047 w 7585924"/>
              <a:gd name="connsiteY6" fmla="*/ 407003 h 5949573"/>
              <a:gd name="connsiteX7" fmla="*/ 7577047 w 7585924"/>
              <a:gd name="connsiteY7" fmla="*/ 3261454 h 5949573"/>
              <a:gd name="connsiteX8" fmla="*/ 2564157 w 7585924"/>
              <a:gd name="connsiteY8" fmla="*/ 5735814 h 5949573"/>
              <a:gd name="connsiteX9" fmla="*/ 233491 w 7585924"/>
              <a:gd name="connsiteY9" fmla="*/ 4944407 h 5949573"/>
              <a:gd name="connsiteX10" fmla="*/ 213372 w 7585924"/>
              <a:gd name="connsiteY10" fmla="*/ 4903490 h 5949573"/>
              <a:gd name="connsiteX11" fmla="*/ 1004379 w 7585924"/>
              <a:gd name="connsiteY11" fmla="*/ 2571260 h 5949573"/>
              <a:gd name="connsiteX12" fmla="*/ 2132121 w 7585924"/>
              <a:gd name="connsiteY12" fmla="*/ 2014584 h 5949573"/>
              <a:gd name="connsiteX13" fmla="*/ 2176595 w 7585924"/>
              <a:gd name="connsiteY13" fmla="*/ 2049039 h 5949573"/>
              <a:gd name="connsiteX14" fmla="*/ 2467796 w 7585924"/>
              <a:gd name="connsiteY14" fmla="*/ 2139486 h 5949573"/>
              <a:gd name="connsiteX15" fmla="*/ 2781234 w 7585924"/>
              <a:gd name="connsiteY15" fmla="*/ 2058730 h 5949573"/>
              <a:gd name="connsiteX16" fmla="*/ 6948025 w 7585924"/>
              <a:gd name="connsiteY16" fmla="*/ 0 h 5949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85924" h="5949573">
                <a:moveTo>
                  <a:pt x="6948025" y="0"/>
                </a:moveTo>
                <a:lnTo>
                  <a:pt x="7585924" y="0"/>
                </a:lnTo>
                <a:lnTo>
                  <a:pt x="6304235" y="638503"/>
                </a:lnTo>
                <a:cubicBezTo>
                  <a:pt x="6304235" y="638503"/>
                  <a:pt x="6082923" y="747254"/>
                  <a:pt x="6159164" y="903382"/>
                </a:cubicBezTo>
                <a:lnTo>
                  <a:pt x="6161282" y="909843"/>
                </a:lnTo>
                <a:cubicBezTo>
                  <a:pt x="6161282" y="909843"/>
                  <a:pt x="6239641" y="1064894"/>
                  <a:pt x="6459895" y="956143"/>
                </a:cubicBezTo>
                <a:lnTo>
                  <a:pt x="7577047" y="407003"/>
                </a:lnTo>
                <a:lnTo>
                  <a:pt x="7577047" y="3261454"/>
                </a:lnTo>
                <a:lnTo>
                  <a:pt x="2564157" y="5735814"/>
                </a:lnTo>
                <a:cubicBezTo>
                  <a:pt x="1003320" y="6506764"/>
                  <a:pt x="233491" y="4944407"/>
                  <a:pt x="233491" y="4944407"/>
                </a:cubicBezTo>
                <a:lnTo>
                  <a:pt x="213372" y="4903490"/>
                </a:lnTo>
                <a:cubicBezTo>
                  <a:pt x="-556457" y="3341133"/>
                  <a:pt x="1004379" y="2571260"/>
                  <a:pt x="1004379" y="2571260"/>
                </a:cubicBezTo>
                <a:lnTo>
                  <a:pt x="2132121" y="2014584"/>
                </a:lnTo>
                <a:cubicBezTo>
                  <a:pt x="2145886" y="2026428"/>
                  <a:pt x="2160712" y="2038272"/>
                  <a:pt x="2176595" y="2049039"/>
                </a:cubicBezTo>
                <a:cubicBezTo>
                  <a:pt x="2245424" y="2096416"/>
                  <a:pt x="2342844" y="2139486"/>
                  <a:pt x="2467796" y="2139486"/>
                </a:cubicBezTo>
                <a:cubicBezTo>
                  <a:pt x="2557803" y="2139486"/>
                  <a:pt x="2661577" y="2117951"/>
                  <a:pt x="2781234" y="2058730"/>
                </a:cubicBezTo>
                <a:lnTo>
                  <a:pt x="6948025" y="0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altLang="ko-KR"/>
              <a:t>Click icon to add pictur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3611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12A714F2-A8EC-40F7-ACFF-A00E1DD10C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412" y="2373273"/>
            <a:ext cx="11271651" cy="2549580"/>
          </a:xfrm>
          <a:custGeom>
            <a:avLst/>
            <a:gdLst>
              <a:gd name="connsiteX0" fmla="*/ 1257522 w 11271651"/>
              <a:gd name="connsiteY0" fmla="*/ 0 h 2549580"/>
              <a:gd name="connsiteX1" fmla="*/ 7117931 w 11271651"/>
              <a:gd name="connsiteY1" fmla="*/ 0 h 2549580"/>
              <a:gd name="connsiteX2" fmla="*/ 7133189 w 11271651"/>
              <a:gd name="connsiteY2" fmla="*/ 37934 h 2549580"/>
              <a:gd name="connsiteX3" fmla="*/ 7567673 w 11271651"/>
              <a:gd name="connsiteY3" fmla="*/ 284761 h 2549580"/>
              <a:gd name="connsiteX4" fmla="*/ 11271651 w 11271651"/>
              <a:gd name="connsiteY4" fmla="*/ 284761 h 2549580"/>
              <a:gd name="connsiteX5" fmla="*/ 11271651 w 11271651"/>
              <a:gd name="connsiteY5" fmla="*/ 2292367 h 2549580"/>
              <a:gd name="connsiteX6" fmla="*/ 3360838 w 11271651"/>
              <a:gd name="connsiteY6" fmla="*/ 2292367 h 2549580"/>
              <a:gd name="connsiteX7" fmla="*/ 3027059 w 11271651"/>
              <a:gd name="connsiteY7" fmla="*/ 2473692 h 2549580"/>
              <a:gd name="connsiteX8" fmla="*/ 2997435 w 11271651"/>
              <a:gd name="connsiteY8" fmla="*/ 2549580 h 2549580"/>
              <a:gd name="connsiteX9" fmla="*/ 1257522 w 11271651"/>
              <a:gd name="connsiteY9" fmla="*/ 2549580 h 2549580"/>
              <a:gd name="connsiteX10" fmla="*/ 0 w 11271651"/>
              <a:gd name="connsiteY10" fmla="*/ 1291940 h 2549580"/>
              <a:gd name="connsiteX11" fmla="*/ 0 w 11271651"/>
              <a:gd name="connsiteY11" fmla="*/ 1257641 h 2549580"/>
              <a:gd name="connsiteX12" fmla="*/ 1257522 w 11271651"/>
              <a:gd name="connsiteY12" fmla="*/ 0 h 2549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271651" h="2549580">
                <a:moveTo>
                  <a:pt x="1257522" y="0"/>
                </a:moveTo>
                <a:lnTo>
                  <a:pt x="7117931" y="0"/>
                </a:lnTo>
                <a:lnTo>
                  <a:pt x="7133189" y="37934"/>
                </a:lnTo>
                <a:cubicBezTo>
                  <a:pt x="7196165" y="161665"/>
                  <a:pt x="7320847" y="284761"/>
                  <a:pt x="7567673" y="284761"/>
                </a:cubicBezTo>
                <a:lnTo>
                  <a:pt x="11271651" y="284761"/>
                </a:lnTo>
                <a:lnTo>
                  <a:pt x="11271651" y="2292367"/>
                </a:lnTo>
                <a:lnTo>
                  <a:pt x="3360838" y="2292367"/>
                </a:lnTo>
                <a:cubicBezTo>
                  <a:pt x="3357507" y="2292367"/>
                  <a:pt x="3127793" y="2295282"/>
                  <a:pt x="3027059" y="2473692"/>
                </a:cubicBezTo>
                <a:lnTo>
                  <a:pt x="2997435" y="2549580"/>
                </a:lnTo>
                <a:lnTo>
                  <a:pt x="1257522" y="2549580"/>
                </a:lnTo>
                <a:cubicBezTo>
                  <a:pt x="1257522" y="2549580"/>
                  <a:pt x="0" y="2549580"/>
                  <a:pt x="0" y="1291940"/>
                </a:cubicBezTo>
                <a:lnTo>
                  <a:pt x="0" y="1257641"/>
                </a:lnTo>
                <a:cubicBezTo>
                  <a:pt x="0" y="1257641"/>
                  <a:pt x="0" y="0"/>
                  <a:pt x="125752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altLang="ko-KR"/>
              <a:t>Click icon to add picture</a:t>
            </a:r>
            <a:endParaRPr lang="ru-RU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3074BE4-153F-46FE-B915-CD1AEF318A25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Graphic 12">
            <a:extLst>
              <a:ext uri="{FF2B5EF4-FFF2-40B4-BE49-F238E27FC236}">
                <a16:creationId xmlns:a16="http://schemas.microsoft.com/office/drawing/2014/main" id="{0B7E91C4-F19E-46BE-B05F-139B5418924E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8A64499-0304-4070-BCB0-67E2BE20A3EA}"/>
              </a:ext>
            </a:extLst>
          </p:cNvPr>
          <p:cNvSpPr/>
          <p:nvPr userDrawn="1"/>
        </p:nvSpPr>
        <p:spPr>
          <a:xfrm>
            <a:off x="7998821" y="1645349"/>
            <a:ext cx="4196737" cy="1001638"/>
          </a:xfrm>
          <a:custGeom>
            <a:avLst/>
            <a:gdLst>
              <a:gd name="connsiteX0" fmla="*/ 3150394 w 3152775"/>
              <a:gd name="connsiteY0" fmla="*/ 7144 h 752475"/>
              <a:gd name="connsiteX1" fmla="*/ 371952 w 3152775"/>
              <a:gd name="connsiteY1" fmla="*/ 7144 h 752475"/>
              <a:gd name="connsiteX2" fmla="*/ 7144 w 3152775"/>
              <a:gd name="connsiteY2" fmla="*/ 370999 h 752475"/>
              <a:gd name="connsiteX3" fmla="*/ 7144 w 3152775"/>
              <a:gd name="connsiteY3" fmla="*/ 384334 h 752475"/>
              <a:gd name="connsiteX4" fmla="*/ 371952 w 3152775"/>
              <a:gd name="connsiteY4" fmla="*/ 748189 h 752475"/>
              <a:gd name="connsiteX5" fmla="*/ 3150394 w 3152775"/>
              <a:gd name="connsiteY5" fmla="*/ 748189 h 752475"/>
              <a:gd name="connsiteX6" fmla="*/ 3150394 w 3152775"/>
              <a:gd name="connsiteY6" fmla="*/ 7144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2775" h="752475">
                <a:moveTo>
                  <a:pt x="3150394" y="7144"/>
                </a:moveTo>
                <a:lnTo>
                  <a:pt x="371952" y="7144"/>
                </a:lnTo>
                <a:cubicBezTo>
                  <a:pt x="371952" y="7144"/>
                  <a:pt x="7144" y="7144"/>
                  <a:pt x="7144" y="370999"/>
                </a:cubicBezTo>
                <a:lnTo>
                  <a:pt x="7144" y="384334"/>
                </a:lnTo>
                <a:cubicBezTo>
                  <a:pt x="7144" y="384334"/>
                  <a:pt x="7144" y="748189"/>
                  <a:pt x="371952" y="748189"/>
                </a:cubicBezTo>
                <a:lnTo>
                  <a:pt x="3150394" y="748189"/>
                </a:lnTo>
                <a:lnTo>
                  <a:pt x="3150394" y="714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D1736B3-AE79-40C2-80FF-2FB0FEE27195}"/>
              </a:ext>
            </a:extLst>
          </p:cNvPr>
          <p:cNvSpPr/>
          <p:nvPr userDrawn="1"/>
        </p:nvSpPr>
        <p:spPr>
          <a:xfrm>
            <a:off x="12186920" y="2632655"/>
            <a:ext cx="5081" cy="25381"/>
          </a:xfrm>
          <a:custGeom>
            <a:avLst/>
            <a:gdLst>
              <a:gd name="connsiteX0" fmla="*/ 0 w 5081"/>
              <a:gd name="connsiteY0" fmla="*/ 0 h 25381"/>
              <a:gd name="connsiteX1" fmla="*/ 5081 w 5081"/>
              <a:gd name="connsiteY1" fmla="*/ 0 h 25381"/>
              <a:gd name="connsiteX2" fmla="*/ 5081 w 5081"/>
              <a:gd name="connsiteY2" fmla="*/ 25381 h 25381"/>
              <a:gd name="connsiteX3" fmla="*/ 0 w 5081"/>
              <a:gd name="connsiteY3" fmla="*/ 25381 h 25381"/>
              <a:gd name="connsiteX4" fmla="*/ 0 w 5081"/>
              <a:gd name="connsiteY4" fmla="*/ 0 h 2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1">
                <a:moveTo>
                  <a:pt x="0" y="0"/>
                </a:moveTo>
                <a:lnTo>
                  <a:pt x="5081" y="0"/>
                </a:lnTo>
                <a:lnTo>
                  <a:pt x="5081" y="25381"/>
                </a:lnTo>
                <a:lnTo>
                  <a:pt x="0" y="25381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228EE-3546-4272-9C39-150FF23CE0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1987" y="793172"/>
            <a:ext cx="9144000" cy="655621"/>
          </a:xfrm>
        </p:spPr>
        <p:txBody>
          <a:bodyPr anchor="b">
            <a:normAutofit/>
          </a:bodyPr>
          <a:lstStyle>
            <a:lvl1pPr algn="l">
              <a:defRPr sz="4000" b="1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DIVIDER SLID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2EFCC6-4D5A-4B43-A534-1A868887BC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5772" y="1877051"/>
            <a:ext cx="6843278" cy="496223"/>
          </a:xfrm>
        </p:spPr>
        <p:txBody>
          <a:bodyPr>
            <a:normAutofit/>
          </a:bodyPr>
          <a:lstStyle>
            <a:lvl1pPr marL="0" indent="0" algn="l">
              <a:buNone/>
              <a:defRPr sz="1800" b="1" i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ko-KR"/>
              <a:t>Click to edit Master subtitle styl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D10BB4-D57E-4372-8E10-AC15DC096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20939-F172-405E-A418-A87CE5D90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808348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4EE1436E-33B5-4388-87D8-2D0633CC3CE7}"/>
              </a:ext>
            </a:extLst>
          </p:cNvPr>
          <p:cNvSpPr/>
          <p:nvPr/>
        </p:nvSpPr>
        <p:spPr>
          <a:xfrm>
            <a:off x="903223" y="1550951"/>
            <a:ext cx="3273552" cy="151200"/>
          </a:xfrm>
          <a:custGeom>
            <a:avLst/>
            <a:gdLst>
              <a:gd name="connsiteX0" fmla="*/ 2392204 w 2447925"/>
              <a:gd name="connsiteY0" fmla="*/ 114776 h 114300"/>
              <a:gd name="connsiteX1" fmla="*/ 60484 w 2447925"/>
              <a:gd name="connsiteY1" fmla="*/ 114776 h 114300"/>
              <a:gd name="connsiteX2" fmla="*/ 7144 w 2447925"/>
              <a:gd name="connsiteY2" fmla="*/ 60484 h 114300"/>
              <a:gd name="connsiteX3" fmla="*/ 7144 w 2447925"/>
              <a:gd name="connsiteY3" fmla="*/ 60484 h 114300"/>
              <a:gd name="connsiteX4" fmla="*/ 60484 w 2447925"/>
              <a:gd name="connsiteY4" fmla="*/ 7144 h 114300"/>
              <a:gd name="connsiteX5" fmla="*/ 2392204 w 2447925"/>
              <a:gd name="connsiteY5" fmla="*/ 7144 h 114300"/>
              <a:gd name="connsiteX6" fmla="*/ 2445544 w 2447925"/>
              <a:gd name="connsiteY6" fmla="*/ 60484 h 114300"/>
              <a:gd name="connsiteX7" fmla="*/ 2445544 w 2447925"/>
              <a:gd name="connsiteY7" fmla="*/ 60484 h 114300"/>
              <a:gd name="connsiteX8" fmla="*/ 2392204 w 2447925"/>
              <a:gd name="connsiteY8" fmla="*/ 114776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47925" h="114300">
                <a:moveTo>
                  <a:pt x="2392204" y="114776"/>
                </a:moveTo>
                <a:lnTo>
                  <a:pt x="60484" y="114776"/>
                </a:lnTo>
                <a:cubicBezTo>
                  <a:pt x="30956" y="114776"/>
                  <a:pt x="7144" y="90011"/>
                  <a:pt x="7144" y="60484"/>
                </a:cubicBezTo>
                <a:lnTo>
                  <a:pt x="7144" y="60484"/>
                </a:lnTo>
                <a:cubicBezTo>
                  <a:pt x="7144" y="30956"/>
                  <a:pt x="30956" y="7144"/>
                  <a:pt x="60484" y="7144"/>
                </a:cubicBezTo>
                <a:lnTo>
                  <a:pt x="2392204" y="7144"/>
                </a:lnTo>
                <a:cubicBezTo>
                  <a:pt x="2421731" y="7144"/>
                  <a:pt x="2445544" y="30956"/>
                  <a:pt x="2445544" y="60484"/>
                </a:cubicBezTo>
                <a:lnTo>
                  <a:pt x="2445544" y="60484"/>
                </a:lnTo>
                <a:cubicBezTo>
                  <a:pt x="2445544" y="90011"/>
                  <a:pt x="2421731" y="114776"/>
                  <a:pt x="2392204" y="11477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8FB11AB-3031-47CA-85DD-696856C3C62C}"/>
              </a:ext>
            </a:extLst>
          </p:cNvPr>
          <p:cNvSpPr/>
          <p:nvPr/>
        </p:nvSpPr>
        <p:spPr>
          <a:xfrm>
            <a:off x="3899957" y="4662943"/>
            <a:ext cx="8292043" cy="760738"/>
          </a:xfrm>
          <a:custGeom>
            <a:avLst/>
            <a:gdLst>
              <a:gd name="connsiteX0" fmla="*/ 6228874 w 6229350"/>
              <a:gd name="connsiteY0" fmla="*/ 7144 h 571500"/>
              <a:gd name="connsiteX1" fmla="*/ 284321 w 6229350"/>
              <a:gd name="connsiteY1" fmla="*/ 7144 h 571500"/>
              <a:gd name="connsiteX2" fmla="*/ 7144 w 6229350"/>
              <a:gd name="connsiteY2" fmla="*/ 282416 h 571500"/>
              <a:gd name="connsiteX3" fmla="*/ 7144 w 6229350"/>
              <a:gd name="connsiteY3" fmla="*/ 292894 h 571500"/>
              <a:gd name="connsiteX4" fmla="*/ 284321 w 6229350"/>
              <a:gd name="connsiteY4" fmla="*/ 568166 h 571500"/>
              <a:gd name="connsiteX5" fmla="*/ 6228874 w 6229350"/>
              <a:gd name="connsiteY5" fmla="*/ 568166 h 571500"/>
              <a:gd name="connsiteX6" fmla="*/ 6228874 w 6229350"/>
              <a:gd name="connsiteY6" fmla="*/ 7144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9350" h="571500">
                <a:moveTo>
                  <a:pt x="6228874" y="7144"/>
                </a:moveTo>
                <a:lnTo>
                  <a:pt x="284321" y="7144"/>
                </a:lnTo>
                <a:cubicBezTo>
                  <a:pt x="284321" y="7144"/>
                  <a:pt x="7144" y="7144"/>
                  <a:pt x="7144" y="282416"/>
                </a:cubicBezTo>
                <a:lnTo>
                  <a:pt x="7144" y="292894"/>
                </a:lnTo>
                <a:cubicBezTo>
                  <a:pt x="7144" y="292894"/>
                  <a:pt x="7144" y="568166"/>
                  <a:pt x="284321" y="568166"/>
                </a:cubicBezTo>
                <a:lnTo>
                  <a:pt x="6228874" y="568166"/>
                </a:lnTo>
                <a:lnTo>
                  <a:pt x="6228874" y="714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10624-61F8-48B2-BD00-D3BC39DEB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9CD6F167-FB82-4EFB-BAB9-1D0FEE07B85D}"/>
              </a:ext>
            </a:extLst>
          </p:cNvPr>
          <p:cNvSpPr/>
          <p:nvPr/>
        </p:nvSpPr>
        <p:spPr>
          <a:xfrm>
            <a:off x="3909848" y="4665641"/>
            <a:ext cx="8277071" cy="257213"/>
          </a:xfrm>
          <a:custGeom>
            <a:avLst/>
            <a:gdLst>
              <a:gd name="connsiteX0" fmla="*/ 363403 w 8277071"/>
              <a:gd name="connsiteY0" fmla="*/ 0 h 257213"/>
              <a:gd name="connsiteX1" fmla="*/ 8277071 w 8277071"/>
              <a:gd name="connsiteY1" fmla="*/ 0 h 257213"/>
              <a:gd name="connsiteX2" fmla="*/ 8277071 w 8277071"/>
              <a:gd name="connsiteY2" fmla="*/ 25380 h 257213"/>
              <a:gd name="connsiteX3" fmla="*/ 363403 w 8277071"/>
              <a:gd name="connsiteY3" fmla="*/ 25380 h 257213"/>
              <a:gd name="connsiteX4" fmla="*/ 61632 w 8277071"/>
              <a:gd name="connsiteY4" fmla="*/ 176355 h 257213"/>
              <a:gd name="connsiteX5" fmla="*/ 25441 w 8277071"/>
              <a:gd name="connsiteY5" fmla="*/ 257213 h 257213"/>
              <a:gd name="connsiteX6" fmla="*/ 0 w 8277071"/>
              <a:gd name="connsiteY6" fmla="*/ 257213 h 257213"/>
              <a:gd name="connsiteX7" fmla="*/ 29624 w 8277071"/>
              <a:gd name="connsiteY7" fmla="*/ 181325 h 257213"/>
              <a:gd name="connsiteX8" fmla="*/ 363403 w 8277071"/>
              <a:gd name="connsiteY8" fmla="*/ 0 h 257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7071" h="257213">
                <a:moveTo>
                  <a:pt x="363403" y="0"/>
                </a:moveTo>
                <a:lnTo>
                  <a:pt x="8277071" y="0"/>
                </a:lnTo>
                <a:lnTo>
                  <a:pt x="8277071" y="25380"/>
                </a:lnTo>
                <a:lnTo>
                  <a:pt x="363403" y="25380"/>
                </a:lnTo>
                <a:cubicBezTo>
                  <a:pt x="352934" y="25380"/>
                  <a:pt x="158297" y="28235"/>
                  <a:pt x="61632" y="176355"/>
                </a:cubicBezTo>
                <a:lnTo>
                  <a:pt x="25441" y="257213"/>
                </a:lnTo>
                <a:lnTo>
                  <a:pt x="0" y="257213"/>
                </a:lnTo>
                <a:lnTo>
                  <a:pt x="29624" y="181325"/>
                </a:lnTo>
                <a:cubicBezTo>
                  <a:pt x="130358" y="2915"/>
                  <a:pt x="360072" y="0"/>
                  <a:pt x="363403" y="0"/>
                </a:cubicBez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DD2082D-81A7-4E2D-8136-9D48016E7FE9}"/>
              </a:ext>
            </a:extLst>
          </p:cNvPr>
          <p:cNvSpPr/>
          <p:nvPr/>
        </p:nvSpPr>
        <p:spPr>
          <a:xfrm>
            <a:off x="12186919" y="4665641"/>
            <a:ext cx="5081" cy="25380"/>
          </a:xfrm>
          <a:custGeom>
            <a:avLst/>
            <a:gdLst>
              <a:gd name="connsiteX0" fmla="*/ 0 w 5081"/>
              <a:gd name="connsiteY0" fmla="*/ 0 h 25380"/>
              <a:gd name="connsiteX1" fmla="*/ 5081 w 5081"/>
              <a:gd name="connsiteY1" fmla="*/ 0 h 25380"/>
              <a:gd name="connsiteX2" fmla="*/ 5081 w 5081"/>
              <a:gd name="connsiteY2" fmla="*/ 25380 h 25380"/>
              <a:gd name="connsiteX3" fmla="*/ 0 w 5081"/>
              <a:gd name="connsiteY3" fmla="*/ 25380 h 25380"/>
              <a:gd name="connsiteX4" fmla="*/ 0 w 5081"/>
              <a:gd name="connsiteY4" fmla="*/ 0 h 25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0">
                <a:moveTo>
                  <a:pt x="0" y="0"/>
                </a:moveTo>
                <a:lnTo>
                  <a:pt x="5081" y="0"/>
                </a:lnTo>
                <a:lnTo>
                  <a:pt x="5081" y="25380"/>
                </a:lnTo>
                <a:lnTo>
                  <a:pt x="0" y="2538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F16C35-4A81-4062-808C-7697AF0FD6F5}"/>
              </a:ext>
            </a:extLst>
          </p:cNvPr>
          <p:cNvSpPr/>
          <p:nvPr/>
        </p:nvSpPr>
        <p:spPr>
          <a:xfrm>
            <a:off x="3905233" y="4922854"/>
            <a:ext cx="8286767" cy="513089"/>
          </a:xfrm>
          <a:custGeom>
            <a:avLst/>
            <a:gdLst>
              <a:gd name="connsiteX0" fmla="*/ 4615 w 8286767"/>
              <a:gd name="connsiteY0" fmla="*/ 0 h 513089"/>
              <a:gd name="connsiteX1" fmla="*/ 30056 w 8286767"/>
              <a:gd name="connsiteY1" fmla="*/ 0 h 513089"/>
              <a:gd name="connsiteX2" fmla="*/ 27385 w 8286767"/>
              <a:gd name="connsiteY2" fmla="*/ 5967 h 513089"/>
              <a:gd name="connsiteX3" fmla="*/ 12690 w 8286767"/>
              <a:gd name="connsiteY3" fmla="*/ 120958 h 513089"/>
              <a:gd name="connsiteX4" fmla="*/ 12690 w 8286767"/>
              <a:gd name="connsiteY4" fmla="*/ 134918 h 513089"/>
              <a:gd name="connsiteX5" fmla="*/ 368018 w 8286767"/>
              <a:gd name="connsiteY5" fmla="*/ 488977 h 513089"/>
              <a:gd name="connsiteX6" fmla="*/ 8286767 w 8286767"/>
              <a:gd name="connsiteY6" fmla="*/ 488977 h 513089"/>
              <a:gd name="connsiteX7" fmla="*/ 8286767 w 8286767"/>
              <a:gd name="connsiteY7" fmla="*/ 513089 h 513089"/>
              <a:gd name="connsiteX8" fmla="*/ 368018 w 8286767"/>
              <a:gd name="connsiteY8" fmla="*/ 513089 h 513089"/>
              <a:gd name="connsiteX9" fmla="*/ 0 w 8286767"/>
              <a:gd name="connsiteY9" fmla="*/ 225019 h 513089"/>
              <a:gd name="connsiteX10" fmla="*/ 0 w 8286767"/>
              <a:gd name="connsiteY10" fmla="*/ 11822 h 513089"/>
              <a:gd name="connsiteX11" fmla="*/ 4615 w 8286767"/>
              <a:gd name="connsiteY11" fmla="*/ 0 h 513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286767" h="513089">
                <a:moveTo>
                  <a:pt x="4615" y="0"/>
                </a:moveTo>
                <a:lnTo>
                  <a:pt x="30056" y="0"/>
                </a:lnTo>
                <a:lnTo>
                  <a:pt x="27385" y="5967"/>
                </a:lnTo>
                <a:cubicBezTo>
                  <a:pt x="18024" y="39383"/>
                  <a:pt x="12690" y="77494"/>
                  <a:pt x="12690" y="120958"/>
                </a:cubicBezTo>
                <a:lnTo>
                  <a:pt x="12690" y="134918"/>
                </a:lnTo>
                <a:cubicBezTo>
                  <a:pt x="12690" y="150146"/>
                  <a:pt x="17766" y="488977"/>
                  <a:pt x="368018" y="488977"/>
                </a:cubicBezTo>
                <a:lnTo>
                  <a:pt x="8286767" y="488977"/>
                </a:lnTo>
                <a:lnTo>
                  <a:pt x="8286767" y="513089"/>
                </a:lnTo>
                <a:lnTo>
                  <a:pt x="368018" y="513089"/>
                </a:lnTo>
                <a:cubicBezTo>
                  <a:pt x="110405" y="513089"/>
                  <a:pt x="26649" y="336694"/>
                  <a:pt x="0" y="225019"/>
                </a:cubicBezTo>
                <a:lnTo>
                  <a:pt x="0" y="11822"/>
                </a:lnTo>
                <a:lnTo>
                  <a:pt x="4615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6971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A97CE06-9ECC-4438-8B22-B58B27F2B5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396781" y="0"/>
            <a:ext cx="3894833" cy="5656330"/>
          </a:xfrm>
          <a:custGeom>
            <a:avLst/>
            <a:gdLst>
              <a:gd name="connsiteX0" fmla="*/ 691654 w 3894833"/>
              <a:gd name="connsiteY0" fmla="*/ 0 h 5656330"/>
              <a:gd name="connsiteX1" fmla="*/ 925166 w 3894833"/>
              <a:gd name="connsiteY1" fmla="*/ 0 h 5656330"/>
              <a:gd name="connsiteX2" fmla="*/ 925166 w 3894833"/>
              <a:gd name="connsiteY2" fmla="*/ 1025424 h 5656330"/>
              <a:gd name="connsiteX3" fmla="*/ 1184060 w 3894833"/>
              <a:gd name="connsiteY3" fmla="*/ 1289394 h 5656330"/>
              <a:gd name="connsiteX4" fmla="*/ 1194212 w 3894833"/>
              <a:gd name="connsiteY4" fmla="*/ 1289394 h 5656330"/>
              <a:gd name="connsiteX5" fmla="*/ 1453107 w 3894833"/>
              <a:gd name="connsiteY5" fmla="*/ 1025424 h 5656330"/>
              <a:gd name="connsiteX6" fmla="*/ 1453107 w 3894833"/>
              <a:gd name="connsiteY6" fmla="*/ 0 h 5656330"/>
              <a:gd name="connsiteX7" fmla="*/ 3894833 w 3894833"/>
              <a:gd name="connsiteY7" fmla="*/ 0 h 5656330"/>
              <a:gd name="connsiteX8" fmla="*/ 3894833 w 3894833"/>
              <a:gd name="connsiteY8" fmla="*/ 3731122 h 5656330"/>
              <a:gd name="connsiteX9" fmla="*/ 2110494 w 3894833"/>
              <a:gd name="connsiteY9" fmla="*/ 5656330 h 5656330"/>
              <a:gd name="connsiteX10" fmla="*/ 1842717 w 3894833"/>
              <a:gd name="connsiteY10" fmla="*/ 5656330 h 5656330"/>
              <a:gd name="connsiteX11" fmla="*/ 0 w 3894833"/>
              <a:gd name="connsiteY11" fmla="*/ 3731122 h 5656330"/>
              <a:gd name="connsiteX12" fmla="*/ 0 w 3894833"/>
              <a:gd name="connsiteY12" fmla="*/ 2120572 h 5656330"/>
              <a:gd name="connsiteX13" fmla="*/ 7266 w 3894833"/>
              <a:gd name="connsiteY13" fmla="*/ 2123266 h 5656330"/>
              <a:gd name="connsiteX14" fmla="*/ 171328 w 3894833"/>
              <a:gd name="connsiteY14" fmla="*/ 2144761 h 5656330"/>
              <a:gd name="connsiteX15" fmla="*/ 189095 w 3894833"/>
              <a:gd name="connsiteY15" fmla="*/ 2144761 h 5656330"/>
              <a:gd name="connsiteX16" fmla="*/ 691654 w 3894833"/>
              <a:gd name="connsiteY16" fmla="*/ 1639663 h 5656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894833" h="5656330">
                <a:moveTo>
                  <a:pt x="691654" y="0"/>
                </a:moveTo>
                <a:lnTo>
                  <a:pt x="925166" y="0"/>
                </a:lnTo>
                <a:lnTo>
                  <a:pt x="925166" y="1025424"/>
                </a:lnTo>
                <a:cubicBezTo>
                  <a:pt x="925166" y="1025424"/>
                  <a:pt x="925166" y="1289394"/>
                  <a:pt x="1184060" y="1289394"/>
                </a:cubicBezTo>
                <a:lnTo>
                  <a:pt x="1194212" y="1289394"/>
                </a:lnTo>
                <a:cubicBezTo>
                  <a:pt x="1194212" y="1289394"/>
                  <a:pt x="1453107" y="1289394"/>
                  <a:pt x="1453107" y="1025424"/>
                </a:cubicBezTo>
                <a:lnTo>
                  <a:pt x="1453107" y="0"/>
                </a:lnTo>
                <a:lnTo>
                  <a:pt x="3894833" y="0"/>
                </a:lnTo>
                <a:lnTo>
                  <a:pt x="3894833" y="3731122"/>
                </a:lnTo>
                <a:cubicBezTo>
                  <a:pt x="3894833" y="3731122"/>
                  <a:pt x="3894833" y="5562417"/>
                  <a:pt x="2110494" y="5656330"/>
                </a:cubicBezTo>
                <a:lnTo>
                  <a:pt x="1842717" y="5656330"/>
                </a:lnTo>
                <a:cubicBezTo>
                  <a:pt x="1467066" y="5628410"/>
                  <a:pt x="0" y="5413934"/>
                  <a:pt x="0" y="3731122"/>
                </a:cubicBezTo>
                <a:lnTo>
                  <a:pt x="0" y="2120572"/>
                </a:lnTo>
                <a:lnTo>
                  <a:pt x="7266" y="2123266"/>
                </a:lnTo>
                <a:cubicBezTo>
                  <a:pt x="54929" y="2136948"/>
                  <a:pt x="109301" y="2144761"/>
                  <a:pt x="171328" y="2144761"/>
                </a:cubicBezTo>
                <a:lnTo>
                  <a:pt x="189095" y="2144761"/>
                </a:lnTo>
                <a:cubicBezTo>
                  <a:pt x="194172" y="2144761"/>
                  <a:pt x="691654" y="2138415"/>
                  <a:pt x="691654" y="1639663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altLang="ko-KR"/>
              <a:t>Click icon to add picture</a:t>
            </a:r>
            <a:endParaRPr lang="ru-RU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E8B26E3-C9CA-4CFF-8221-19518F497FF4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Graphic 12">
            <a:extLst>
              <a:ext uri="{FF2B5EF4-FFF2-40B4-BE49-F238E27FC236}">
                <a16:creationId xmlns:a16="http://schemas.microsoft.com/office/drawing/2014/main" id="{A9957602-C843-44E0-A93F-66AF5A6A0F0A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42568A-7F20-40F2-9490-E3BC7466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0023" y="908050"/>
            <a:ext cx="4503295" cy="78263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XT LAYOUT 02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F89F8-3E24-406D-9C49-00E6E47E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2DBDA-ED00-4248-AC6D-0CE0B821B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908793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B5F97-2F18-4EF2-9CBC-AAAB9FF4C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492975F-6F5D-4157-A751-54BACCCF1800}"/>
              </a:ext>
            </a:extLst>
          </p:cNvPr>
          <p:cNvSpPr/>
          <p:nvPr/>
        </p:nvSpPr>
        <p:spPr>
          <a:xfrm>
            <a:off x="5492146" y="-12675"/>
            <a:ext cx="545708" cy="3819957"/>
          </a:xfrm>
          <a:custGeom>
            <a:avLst/>
            <a:gdLst>
              <a:gd name="connsiteX0" fmla="*/ 12675 w 545708"/>
              <a:gd name="connsiteY0" fmla="*/ 12675 h 3819957"/>
              <a:gd name="connsiteX1" fmla="*/ 12675 w 545708"/>
              <a:gd name="connsiteY1" fmla="*/ 3550894 h 3819957"/>
              <a:gd name="connsiteX2" fmla="*/ 271569 w 545708"/>
              <a:gd name="connsiteY2" fmla="*/ 3814865 h 3819957"/>
              <a:gd name="connsiteX3" fmla="*/ 281722 w 545708"/>
              <a:gd name="connsiteY3" fmla="*/ 3814865 h 3819957"/>
              <a:gd name="connsiteX4" fmla="*/ 540616 w 545708"/>
              <a:gd name="connsiteY4" fmla="*/ 3550894 h 3819957"/>
              <a:gd name="connsiteX5" fmla="*/ 540616 w 545708"/>
              <a:gd name="connsiteY5" fmla="*/ 12675 h 3819957"/>
              <a:gd name="connsiteX6" fmla="*/ 12675 w 545708"/>
              <a:gd name="connsiteY6" fmla="*/ 12675 h 3819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5708" h="3819957">
                <a:moveTo>
                  <a:pt x="12675" y="12675"/>
                </a:moveTo>
                <a:lnTo>
                  <a:pt x="12675" y="3550894"/>
                </a:lnTo>
                <a:cubicBezTo>
                  <a:pt x="12675" y="3550894"/>
                  <a:pt x="12675" y="3814865"/>
                  <a:pt x="271569" y="3814865"/>
                </a:cubicBezTo>
                <a:lnTo>
                  <a:pt x="281722" y="3814865"/>
                </a:lnTo>
                <a:cubicBezTo>
                  <a:pt x="281722" y="3814865"/>
                  <a:pt x="540616" y="3814865"/>
                  <a:pt x="540616" y="3550894"/>
                </a:cubicBezTo>
                <a:lnTo>
                  <a:pt x="540616" y="12675"/>
                </a:lnTo>
                <a:lnTo>
                  <a:pt x="12675" y="12675"/>
                </a:lnTo>
                <a:close/>
              </a:path>
            </a:pathLst>
          </a:custGeom>
          <a:solidFill>
            <a:schemeClr val="accent1"/>
          </a:solidFill>
          <a:ln w="1268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C50EDEB-35C1-4DED-A608-A0EAA8DE5404}"/>
              </a:ext>
            </a:extLst>
          </p:cNvPr>
          <p:cNvSpPr/>
          <p:nvPr/>
        </p:nvSpPr>
        <p:spPr>
          <a:xfrm>
            <a:off x="5479455" y="-12675"/>
            <a:ext cx="571090" cy="3832648"/>
          </a:xfrm>
          <a:custGeom>
            <a:avLst/>
            <a:gdLst>
              <a:gd name="connsiteX0" fmla="*/ 540616 w 571089"/>
              <a:gd name="connsiteY0" fmla="*/ 12675 h 3832648"/>
              <a:gd name="connsiteX1" fmla="*/ 540616 w 571089"/>
              <a:gd name="connsiteY1" fmla="*/ 3550894 h 3832648"/>
              <a:gd name="connsiteX2" fmla="*/ 294413 w 571089"/>
              <a:gd name="connsiteY2" fmla="*/ 3802174 h 3832648"/>
              <a:gd name="connsiteX3" fmla="*/ 284260 w 571089"/>
              <a:gd name="connsiteY3" fmla="*/ 3802174 h 3832648"/>
              <a:gd name="connsiteX4" fmla="*/ 38056 w 571089"/>
              <a:gd name="connsiteY4" fmla="*/ 3550894 h 3832648"/>
              <a:gd name="connsiteX5" fmla="*/ 38056 w 571089"/>
              <a:gd name="connsiteY5" fmla="*/ 12675 h 3832648"/>
              <a:gd name="connsiteX6" fmla="*/ 12675 w 571089"/>
              <a:gd name="connsiteY6" fmla="*/ 12675 h 3832648"/>
              <a:gd name="connsiteX7" fmla="*/ 12675 w 571089"/>
              <a:gd name="connsiteY7" fmla="*/ 3550894 h 3832648"/>
              <a:gd name="connsiteX8" fmla="*/ 284260 w 571089"/>
              <a:gd name="connsiteY8" fmla="*/ 3827556 h 3832648"/>
              <a:gd name="connsiteX9" fmla="*/ 294413 w 571089"/>
              <a:gd name="connsiteY9" fmla="*/ 3827556 h 3832648"/>
              <a:gd name="connsiteX10" fmla="*/ 565998 w 571089"/>
              <a:gd name="connsiteY10" fmla="*/ 3550894 h 3832648"/>
              <a:gd name="connsiteX11" fmla="*/ 565998 w 571089"/>
              <a:gd name="connsiteY11" fmla="*/ 12675 h 3832648"/>
              <a:gd name="connsiteX12" fmla="*/ 540616 w 571089"/>
              <a:gd name="connsiteY12" fmla="*/ 12675 h 3832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71089" h="3832648">
                <a:moveTo>
                  <a:pt x="540616" y="12675"/>
                </a:moveTo>
                <a:lnTo>
                  <a:pt x="540616" y="3550894"/>
                </a:lnTo>
                <a:cubicBezTo>
                  <a:pt x="540616" y="3798367"/>
                  <a:pt x="304565" y="3802174"/>
                  <a:pt x="294413" y="3802174"/>
                </a:cubicBezTo>
                <a:lnTo>
                  <a:pt x="284260" y="3802174"/>
                </a:lnTo>
                <a:cubicBezTo>
                  <a:pt x="41864" y="3802174"/>
                  <a:pt x="38056" y="3561047"/>
                  <a:pt x="38056" y="3550894"/>
                </a:cubicBezTo>
                <a:lnTo>
                  <a:pt x="38056" y="12675"/>
                </a:lnTo>
                <a:lnTo>
                  <a:pt x="12675" y="12675"/>
                </a:lnTo>
                <a:lnTo>
                  <a:pt x="12675" y="3550894"/>
                </a:lnTo>
                <a:cubicBezTo>
                  <a:pt x="12675" y="3553433"/>
                  <a:pt x="15213" y="3827556"/>
                  <a:pt x="284260" y="3827556"/>
                </a:cubicBezTo>
                <a:lnTo>
                  <a:pt x="294413" y="3827556"/>
                </a:lnTo>
                <a:cubicBezTo>
                  <a:pt x="296951" y="3827556"/>
                  <a:pt x="565998" y="3825017"/>
                  <a:pt x="565998" y="3550894"/>
                </a:cubicBezTo>
                <a:lnTo>
                  <a:pt x="565998" y="12675"/>
                </a:lnTo>
                <a:lnTo>
                  <a:pt x="540616" y="12675"/>
                </a:lnTo>
                <a:close/>
              </a:path>
            </a:pathLst>
          </a:custGeom>
          <a:solidFill>
            <a:schemeClr val="bg1"/>
          </a:solidFill>
          <a:ln w="1268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469DEB5-CC79-4D71-8360-0B10B34244B7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6910023" y="2050475"/>
            <a:ext cx="4548187" cy="639683"/>
          </a:xfrm>
        </p:spPr>
        <p:txBody>
          <a:bodyPr>
            <a:normAutofit/>
          </a:bodyPr>
          <a:lstStyle>
            <a:lvl1pPr marL="0" indent="0">
              <a:buNone/>
              <a:defRPr sz="1800" b="1" i="0"/>
            </a:lvl1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EE0722D-F13C-4FFB-9E31-CC024B92E6CD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6910023" y="2839714"/>
            <a:ext cx="4548187" cy="2916952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3" name="Graphic 22">
            <a:extLst>
              <a:ext uri="{FF2B5EF4-FFF2-40B4-BE49-F238E27FC236}">
                <a16:creationId xmlns:a16="http://schemas.microsoft.com/office/drawing/2014/main" id="{827885C7-FA6F-4513-83BC-BEAD42F63D5B}"/>
              </a:ext>
            </a:extLst>
          </p:cNvPr>
          <p:cNvSpPr/>
          <p:nvPr userDrawn="1"/>
        </p:nvSpPr>
        <p:spPr>
          <a:xfrm>
            <a:off x="6981947" y="1726672"/>
            <a:ext cx="3785313" cy="165305"/>
          </a:xfrm>
          <a:custGeom>
            <a:avLst/>
            <a:gdLst>
              <a:gd name="connsiteX0" fmla="*/ 3700149 w 3785313"/>
              <a:gd name="connsiteY0" fmla="*/ 162194 h 165304"/>
              <a:gd name="connsiteX1" fmla="*/ 92020 w 3785313"/>
              <a:gd name="connsiteY1" fmla="*/ 162194 h 165304"/>
              <a:gd name="connsiteX2" fmla="*/ 14166 w 3785313"/>
              <a:gd name="connsiteY2" fmla="*/ 87171 h 165304"/>
              <a:gd name="connsiteX3" fmla="*/ 14166 w 3785313"/>
              <a:gd name="connsiteY3" fmla="*/ 87171 h 165304"/>
              <a:gd name="connsiteX4" fmla="*/ 92020 w 3785313"/>
              <a:gd name="connsiteY4" fmla="*/ 13420 h 165304"/>
              <a:gd name="connsiteX5" fmla="*/ 3698806 w 3785313"/>
              <a:gd name="connsiteY5" fmla="*/ 13420 h 165304"/>
              <a:gd name="connsiteX6" fmla="*/ 3776660 w 3785313"/>
              <a:gd name="connsiteY6" fmla="*/ 87171 h 165304"/>
              <a:gd name="connsiteX7" fmla="*/ 3776660 w 3785313"/>
              <a:gd name="connsiteY7" fmla="*/ 87171 h 165304"/>
              <a:gd name="connsiteX8" fmla="*/ 3700149 w 3785313"/>
              <a:gd name="connsiteY8" fmla="*/ 162194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5313" h="165304">
                <a:moveTo>
                  <a:pt x="3700149" y="162194"/>
                </a:moveTo>
                <a:lnTo>
                  <a:pt x="92020" y="162194"/>
                </a:lnTo>
                <a:cubicBezTo>
                  <a:pt x="49066" y="162194"/>
                  <a:pt x="14166" y="127861"/>
                  <a:pt x="14166" y="87171"/>
                </a:cubicBezTo>
                <a:lnTo>
                  <a:pt x="14166" y="87171"/>
                </a:lnTo>
                <a:cubicBezTo>
                  <a:pt x="14166" y="46481"/>
                  <a:pt x="49066" y="13420"/>
                  <a:pt x="92020" y="13420"/>
                </a:cubicBezTo>
                <a:lnTo>
                  <a:pt x="3698806" y="13420"/>
                </a:lnTo>
                <a:cubicBezTo>
                  <a:pt x="3741760" y="13420"/>
                  <a:pt x="3776660" y="46481"/>
                  <a:pt x="3776660" y="87171"/>
                </a:cubicBezTo>
                <a:lnTo>
                  <a:pt x="3776660" y="87171"/>
                </a:lnTo>
                <a:cubicBezTo>
                  <a:pt x="3778002" y="127861"/>
                  <a:pt x="3743102" y="162194"/>
                  <a:pt x="3700149" y="16219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340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0961087-B677-45AC-8D02-FEE615D17609}"/>
              </a:ext>
            </a:extLst>
          </p:cNvPr>
          <p:cNvSpPr/>
          <p:nvPr userDrawn="1"/>
        </p:nvSpPr>
        <p:spPr>
          <a:xfrm>
            <a:off x="1069371" y="-12675"/>
            <a:ext cx="1002580" cy="2144760"/>
          </a:xfrm>
          <a:custGeom>
            <a:avLst/>
            <a:gdLst>
              <a:gd name="connsiteX0" fmla="*/ 12675 w 1002580"/>
              <a:gd name="connsiteY0" fmla="*/ 12675 h 2144760"/>
              <a:gd name="connsiteX1" fmla="*/ 12675 w 1002580"/>
              <a:gd name="connsiteY1" fmla="*/ 1652337 h 2144760"/>
              <a:gd name="connsiteX2" fmla="*/ 498736 w 1002580"/>
              <a:gd name="connsiteY2" fmla="*/ 2139668 h 2144760"/>
              <a:gd name="connsiteX3" fmla="*/ 516503 w 1002580"/>
              <a:gd name="connsiteY3" fmla="*/ 2139668 h 2144760"/>
              <a:gd name="connsiteX4" fmla="*/ 1002564 w 1002580"/>
              <a:gd name="connsiteY4" fmla="*/ 1652337 h 2144760"/>
              <a:gd name="connsiteX5" fmla="*/ 1002564 w 1002580"/>
              <a:gd name="connsiteY5" fmla="*/ 12675 h 2144760"/>
              <a:gd name="connsiteX6" fmla="*/ 12675 w 1002580"/>
              <a:gd name="connsiteY6" fmla="*/ 12675 h 2144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2580" h="2144760">
                <a:moveTo>
                  <a:pt x="12675" y="12675"/>
                </a:moveTo>
                <a:lnTo>
                  <a:pt x="12675" y="1652337"/>
                </a:lnTo>
                <a:cubicBezTo>
                  <a:pt x="12675" y="1652337"/>
                  <a:pt x="12675" y="2139668"/>
                  <a:pt x="498736" y="2139668"/>
                </a:cubicBezTo>
                <a:lnTo>
                  <a:pt x="516503" y="2139668"/>
                </a:lnTo>
                <a:cubicBezTo>
                  <a:pt x="516503" y="2139668"/>
                  <a:pt x="1002564" y="2139668"/>
                  <a:pt x="1002564" y="1652337"/>
                </a:cubicBezTo>
                <a:lnTo>
                  <a:pt x="1002564" y="12675"/>
                </a:lnTo>
                <a:lnTo>
                  <a:pt x="12675" y="12675"/>
                </a:lnTo>
                <a:close/>
              </a:path>
            </a:pathLst>
          </a:custGeom>
          <a:solidFill>
            <a:schemeClr val="accent3"/>
          </a:solidFill>
          <a:ln w="1268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40322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D6E0F90B-941A-45B6-85DA-E0D4E7977C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771770" y="1483675"/>
            <a:ext cx="6421408" cy="3438427"/>
          </a:xfrm>
          <a:custGeom>
            <a:avLst/>
            <a:gdLst>
              <a:gd name="connsiteX0" fmla="*/ 1709168 w 6421408"/>
              <a:gd name="connsiteY0" fmla="*/ 0 h 3438427"/>
              <a:gd name="connsiteX1" fmla="*/ 6421408 w 6421408"/>
              <a:gd name="connsiteY1" fmla="*/ 0 h 3438427"/>
              <a:gd name="connsiteX2" fmla="*/ 6421408 w 6421408"/>
              <a:gd name="connsiteY2" fmla="*/ 280430 h 3438427"/>
              <a:gd name="connsiteX3" fmla="*/ 5507320 w 6421408"/>
              <a:gd name="connsiteY3" fmla="*/ 280430 h 3438427"/>
              <a:gd name="connsiteX4" fmla="*/ 5322477 w 6421408"/>
              <a:gd name="connsiteY4" fmla="*/ 461067 h 3438427"/>
              <a:gd name="connsiteX5" fmla="*/ 5322477 w 6421408"/>
              <a:gd name="connsiteY5" fmla="*/ 467384 h 3438427"/>
              <a:gd name="connsiteX6" fmla="*/ 5507320 w 6421408"/>
              <a:gd name="connsiteY6" fmla="*/ 648021 h 3438427"/>
              <a:gd name="connsiteX7" fmla="*/ 6421408 w 6421408"/>
              <a:gd name="connsiteY7" fmla="*/ 648021 h 3438427"/>
              <a:gd name="connsiteX8" fmla="*/ 6421408 w 6421408"/>
              <a:gd name="connsiteY8" fmla="*/ 2672927 h 3438427"/>
              <a:gd name="connsiteX9" fmla="*/ 4918005 w 6421408"/>
              <a:gd name="connsiteY9" fmla="*/ 2672927 h 3438427"/>
              <a:gd name="connsiteX10" fmla="*/ 4642006 w 6421408"/>
              <a:gd name="connsiteY10" fmla="*/ 2943252 h 3438427"/>
              <a:gd name="connsiteX11" fmla="*/ 4642006 w 6421408"/>
              <a:gd name="connsiteY11" fmla="*/ 2949569 h 3438427"/>
              <a:gd name="connsiteX12" fmla="*/ 3297460 w 6421408"/>
              <a:gd name="connsiteY12" fmla="*/ 2949569 h 3438427"/>
              <a:gd name="connsiteX13" fmla="*/ 2831554 w 6421408"/>
              <a:gd name="connsiteY13" fmla="*/ 3411899 h 3438427"/>
              <a:gd name="connsiteX14" fmla="*/ 2831554 w 6421408"/>
              <a:gd name="connsiteY14" fmla="*/ 3428320 h 3438427"/>
              <a:gd name="connsiteX15" fmla="*/ 2831723 w 6421408"/>
              <a:gd name="connsiteY15" fmla="*/ 3434345 h 3438427"/>
              <a:gd name="connsiteX16" fmla="*/ 2831976 w 6421408"/>
              <a:gd name="connsiteY16" fmla="*/ 3438427 h 3438427"/>
              <a:gd name="connsiteX17" fmla="*/ 1709168 w 6421408"/>
              <a:gd name="connsiteY17" fmla="*/ 3438427 h 3438427"/>
              <a:gd name="connsiteX18" fmla="*/ 0 w 6421408"/>
              <a:gd name="connsiteY18" fmla="*/ 1733109 h 3438427"/>
              <a:gd name="connsiteX19" fmla="*/ 0 w 6421408"/>
              <a:gd name="connsiteY19" fmla="*/ 1705319 h 3438427"/>
              <a:gd name="connsiteX20" fmla="*/ 1709168 w 6421408"/>
              <a:gd name="connsiteY20" fmla="*/ 0 h 3438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421408" h="3438427">
                <a:moveTo>
                  <a:pt x="1709168" y="0"/>
                </a:moveTo>
                <a:lnTo>
                  <a:pt x="6421408" y="0"/>
                </a:lnTo>
                <a:lnTo>
                  <a:pt x="6421408" y="280430"/>
                </a:lnTo>
                <a:lnTo>
                  <a:pt x="5507320" y="280430"/>
                </a:lnTo>
                <a:cubicBezTo>
                  <a:pt x="5507320" y="280430"/>
                  <a:pt x="5322477" y="280430"/>
                  <a:pt x="5322477" y="461067"/>
                </a:cubicBezTo>
                <a:lnTo>
                  <a:pt x="5322477" y="467384"/>
                </a:lnTo>
                <a:cubicBezTo>
                  <a:pt x="5322477" y="467384"/>
                  <a:pt x="5322477" y="648021"/>
                  <a:pt x="5507320" y="648021"/>
                </a:cubicBezTo>
                <a:lnTo>
                  <a:pt x="6421408" y="648021"/>
                </a:lnTo>
                <a:lnTo>
                  <a:pt x="6421408" y="2672927"/>
                </a:lnTo>
                <a:lnTo>
                  <a:pt x="4918005" y="2672927"/>
                </a:lnTo>
                <a:cubicBezTo>
                  <a:pt x="4915473" y="2672927"/>
                  <a:pt x="4642006" y="2675454"/>
                  <a:pt x="4642006" y="2943252"/>
                </a:cubicBezTo>
                <a:lnTo>
                  <a:pt x="4642006" y="2949569"/>
                </a:lnTo>
                <a:lnTo>
                  <a:pt x="3297460" y="2949569"/>
                </a:lnTo>
                <a:cubicBezTo>
                  <a:pt x="3292396" y="2949569"/>
                  <a:pt x="2831554" y="2954621"/>
                  <a:pt x="2831554" y="3411899"/>
                </a:cubicBezTo>
                <a:lnTo>
                  <a:pt x="2831554" y="3428320"/>
                </a:lnTo>
                <a:cubicBezTo>
                  <a:pt x="2831554" y="3428636"/>
                  <a:pt x="2831574" y="3430718"/>
                  <a:pt x="2831723" y="3434345"/>
                </a:cubicBezTo>
                <a:lnTo>
                  <a:pt x="2831976" y="3438427"/>
                </a:lnTo>
                <a:lnTo>
                  <a:pt x="1709168" y="3438427"/>
                </a:lnTo>
                <a:cubicBezTo>
                  <a:pt x="1709168" y="3438427"/>
                  <a:pt x="0" y="3438427"/>
                  <a:pt x="0" y="1733109"/>
                </a:cubicBezTo>
                <a:lnTo>
                  <a:pt x="0" y="1705319"/>
                </a:lnTo>
                <a:cubicBezTo>
                  <a:pt x="0" y="1705319"/>
                  <a:pt x="0" y="0"/>
                  <a:pt x="1709168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altLang="ko-KR"/>
              <a:t>Click icon to add picture</a:t>
            </a:r>
            <a:endParaRPr lang="ru-RU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BC6DBB9-1B34-4374-A887-DC30F9E2F62F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Graphic 12">
            <a:extLst>
              <a:ext uri="{FF2B5EF4-FFF2-40B4-BE49-F238E27FC236}">
                <a16:creationId xmlns:a16="http://schemas.microsoft.com/office/drawing/2014/main" id="{00DE0AE3-F44D-4F2C-B7A3-C253AA498DEF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42568A-7F20-40F2-9490-E3BC7466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853" y="1231900"/>
            <a:ext cx="4503295" cy="78263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XT LAYOUT 02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F89F8-3E24-406D-9C49-00E6E47E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2DBDA-ED00-4248-AC6D-0CE0B821B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908793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B5F97-2F18-4EF2-9CBC-AAAB9FF4C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82903A57-2768-42F8-A5EA-4C19B90498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67" y="3889184"/>
            <a:ext cx="4548187" cy="1708223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6C05708-08C7-4EF1-B0D8-6A01C1B1AD85}"/>
              </a:ext>
            </a:extLst>
          </p:cNvPr>
          <p:cNvSpPr/>
          <p:nvPr userDrawn="1"/>
        </p:nvSpPr>
        <p:spPr>
          <a:xfrm>
            <a:off x="10413777" y="4433244"/>
            <a:ext cx="1782599" cy="30316"/>
          </a:xfrm>
          <a:custGeom>
            <a:avLst/>
            <a:gdLst>
              <a:gd name="connsiteX0" fmla="*/ 0 w 1782599"/>
              <a:gd name="connsiteY0" fmla="*/ 0 h 30316"/>
              <a:gd name="connsiteX1" fmla="*/ 1782599 w 1782599"/>
              <a:gd name="connsiteY1" fmla="*/ 0 h 30316"/>
              <a:gd name="connsiteX2" fmla="*/ 1782599 w 1782599"/>
              <a:gd name="connsiteY2" fmla="*/ 30316 h 30316"/>
              <a:gd name="connsiteX3" fmla="*/ 2488 w 1782599"/>
              <a:gd name="connsiteY3" fmla="*/ 30316 h 30316"/>
              <a:gd name="connsiteX4" fmla="*/ 643 w 1782599"/>
              <a:gd name="connsiteY4" fmla="*/ 16129 h 30316"/>
              <a:gd name="connsiteX5" fmla="*/ 0 w 1782599"/>
              <a:gd name="connsiteY5" fmla="*/ 3788 h 30316"/>
              <a:gd name="connsiteX6" fmla="*/ 0 w 1782599"/>
              <a:gd name="connsiteY6" fmla="*/ 0 h 30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2599" h="30316">
                <a:moveTo>
                  <a:pt x="0" y="0"/>
                </a:moveTo>
                <a:lnTo>
                  <a:pt x="1782599" y="0"/>
                </a:lnTo>
                <a:lnTo>
                  <a:pt x="1782599" y="30316"/>
                </a:lnTo>
                <a:lnTo>
                  <a:pt x="2488" y="30316"/>
                </a:lnTo>
                <a:lnTo>
                  <a:pt x="643" y="16129"/>
                </a:lnTo>
                <a:cubicBezTo>
                  <a:pt x="40" y="8565"/>
                  <a:pt x="0" y="4104"/>
                  <a:pt x="0" y="378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46691B2-7AF3-4CAC-A285-36444A9101D9}"/>
              </a:ext>
            </a:extLst>
          </p:cNvPr>
          <p:cNvSpPr/>
          <p:nvPr userDrawn="1"/>
        </p:nvSpPr>
        <p:spPr>
          <a:xfrm>
            <a:off x="12193179" y="4156602"/>
            <a:ext cx="3197" cy="25264"/>
          </a:xfrm>
          <a:custGeom>
            <a:avLst/>
            <a:gdLst>
              <a:gd name="connsiteX0" fmla="*/ 0 w 3197"/>
              <a:gd name="connsiteY0" fmla="*/ 0 h 25264"/>
              <a:gd name="connsiteX1" fmla="*/ 3197 w 3197"/>
              <a:gd name="connsiteY1" fmla="*/ 0 h 25264"/>
              <a:gd name="connsiteX2" fmla="*/ 3197 w 3197"/>
              <a:gd name="connsiteY2" fmla="*/ 25264 h 25264"/>
              <a:gd name="connsiteX3" fmla="*/ 0 w 3197"/>
              <a:gd name="connsiteY3" fmla="*/ 25264 h 25264"/>
              <a:gd name="connsiteX4" fmla="*/ 0 w 3197"/>
              <a:gd name="connsiteY4" fmla="*/ 0 h 25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7" h="25264">
                <a:moveTo>
                  <a:pt x="0" y="0"/>
                </a:moveTo>
                <a:lnTo>
                  <a:pt x="3197" y="0"/>
                </a:lnTo>
                <a:lnTo>
                  <a:pt x="3197" y="25264"/>
                </a:lnTo>
                <a:lnTo>
                  <a:pt x="0" y="2526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E8ACF66-A148-4D4F-A35C-837CDC6B154D}"/>
              </a:ext>
            </a:extLst>
          </p:cNvPr>
          <p:cNvSpPr/>
          <p:nvPr userDrawn="1"/>
        </p:nvSpPr>
        <p:spPr>
          <a:xfrm>
            <a:off x="12193179" y="4682093"/>
            <a:ext cx="3197" cy="25264"/>
          </a:xfrm>
          <a:custGeom>
            <a:avLst/>
            <a:gdLst>
              <a:gd name="connsiteX0" fmla="*/ 0 w 3197"/>
              <a:gd name="connsiteY0" fmla="*/ 0 h 25264"/>
              <a:gd name="connsiteX1" fmla="*/ 3197 w 3197"/>
              <a:gd name="connsiteY1" fmla="*/ 0 h 25264"/>
              <a:gd name="connsiteX2" fmla="*/ 3197 w 3197"/>
              <a:gd name="connsiteY2" fmla="*/ 25264 h 25264"/>
              <a:gd name="connsiteX3" fmla="*/ 0 w 3197"/>
              <a:gd name="connsiteY3" fmla="*/ 25264 h 25264"/>
              <a:gd name="connsiteX4" fmla="*/ 0 w 3197"/>
              <a:gd name="connsiteY4" fmla="*/ 0 h 25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7" h="25264">
                <a:moveTo>
                  <a:pt x="0" y="0"/>
                </a:moveTo>
                <a:lnTo>
                  <a:pt x="3197" y="0"/>
                </a:lnTo>
                <a:lnTo>
                  <a:pt x="3197" y="25264"/>
                </a:lnTo>
                <a:lnTo>
                  <a:pt x="0" y="2526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5F10B1F7-5633-4C8B-A868-72D9C782CBA6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811115" y="2374900"/>
            <a:ext cx="4565650" cy="701675"/>
          </a:xfrm>
        </p:spPr>
        <p:txBody>
          <a:bodyPr>
            <a:noAutofit/>
          </a:bodyPr>
          <a:lstStyle>
            <a:lvl1pPr marL="0" indent="0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CBA9BCD0-48BA-4D5B-8871-61204EACE422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811115" y="3165301"/>
            <a:ext cx="4583113" cy="689525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3" name="Graphic 33">
            <a:extLst>
              <a:ext uri="{FF2B5EF4-FFF2-40B4-BE49-F238E27FC236}">
                <a16:creationId xmlns:a16="http://schemas.microsoft.com/office/drawing/2014/main" id="{38956B41-4EE0-4C7C-8436-027F5DE8B1BC}"/>
              </a:ext>
            </a:extLst>
          </p:cNvPr>
          <p:cNvSpPr/>
          <p:nvPr userDrawn="1"/>
        </p:nvSpPr>
        <p:spPr>
          <a:xfrm>
            <a:off x="887582" y="2045662"/>
            <a:ext cx="3785313" cy="165305"/>
          </a:xfrm>
          <a:custGeom>
            <a:avLst/>
            <a:gdLst>
              <a:gd name="connsiteX0" fmla="*/ 3700149 w 3785313"/>
              <a:gd name="connsiteY0" fmla="*/ 162194 h 165304"/>
              <a:gd name="connsiteX1" fmla="*/ 92020 w 3785313"/>
              <a:gd name="connsiteY1" fmla="*/ 162194 h 165304"/>
              <a:gd name="connsiteX2" fmla="*/ 14166 w 3785313"/>
              <a:gd name="connsiteY2" fmla="*/ 87171 h 165304"/>
              <a:gd name="connsiteX3" fmla="*/ 14166 w 3785313"/>
              <a:gd name="connsiteY3" fmla="*/ 87171 h 165304"/>
              <a:gd name="connsiteX4" fmla="*/ 92020 w 3785313"/>
              <a:gd name="connsiteY4" fmla="*/ 13420 h 165304"/>
              <a:gd name="connsiteX5" fmla="*/ 3698806 w 3785313"/>
              <a:gd name="connsiteY5" fmla="*/ 13420 h 165304"/>
              <a:gd name="connsiteX6" fmla="*/ 3776660 w 3785313"/>
              <a:gd name="connsiteY6" fmla="*/ 87171 h 165304"/>
              <a:gd name="connsiteX7" fmla="*/ 3776660 w 3785313"/>
              <a:gd name="connsiteY7" fmla="*/ 87171 h 165304"/>
              <a:gd name="connsiteX8" fmla="*/ 3700149 w 3785313"/>
              <a:gd name="connsiteY8" fmla="*/ 162194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5313" h="165304">
                <a:moveTo>
                  <a:pt x="3700149" y="162194"/>
                </a:moveTo>
                <a:lnTo>
                  <a:pt x="92020" y="162194"/>
                </a:lnTo>
                <a:cubicBezTo>
                  <a:pt x="49066" y="162194"/>
                  <a:pt x="14166" y="127861"/>
                  <a:pt x="14166" y="87171"/>
                </a:cubicBezTo>
                <a:lnTo>
                  <a:pt x="14166" y="87171"/>
                </a:lnTo>
                <a:cubicBezTo>
                  <a:pt x="14166" y="46481"/>
                  <a:pt x="49066" y="13420"/>
                  <a:pt x="92020" y="13420"/>
                </a:cubicBezTo>
                <a:lnTo>
                  <a:pt x="3698806" y="13420"/>
                </a:lnTo>
                <a:cubicBezTo>
                  <a:pt x="3741760" y="13420"/>
                  <a:pt x="3776660" y="46481"/>
                  <a:pt x="3776660" y="87171"/>
                </a:cubicBezTo>
                <a:lnTo>
                  <a:pt x="3776660" y="87171"/>
                </a:lnTo>
                <a:cubicBezTo>
                  <a:pt x="3778002" y="127861"/>
                  <a:pt x="3743102" y="162194"/>
                  <a:pt x="3700149" y="16219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340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08687FC-7322-4F20-9769-1ECF4296A96E}"/>
              </a:ext>
            </a:extLst>
          </p:cNvPr>
          <p:cNvSpPr/>
          <p:nvPr userDrawn="1"/>
        </p:nvSpPr>
        <p:spPr>
          <a:xfrm>
            <a:off x="10416941" y="4161024"/>
            <a:ext cx="1785131" cy="543175"/>
          </a:xfrm>
          <a:custGeom>
            <a:avLst/>
            <a:gdLst>
              <a:gd name="connsiteX0" fmla="*/ 1338739 w 1343025"/>
              <a:gd name="connsiteY0" fmla="*/ 7144 h 409575"/>
              <a:gd name="connsiteX1" fmla="*/ 205264 w 1343025"/>
              <a:gd name="connsiteY1" fmla="*/ 7144 h 409575"/>
              <a:gd name="connsiteX2" fmla="*/ 7144 w 1343025"/>
              <a:gd name="connsiteY2" fmla="*/ 201454 h 409575"/>
              <a:gd name="connsiteX3" fmla="*/ 7144 w 1343025"/>
              <a:gd name="connsiteY3" fmla="*/ 209074 h 409575"/>
              <a:gd name="connsiteX4" fmla="*/ 205264 w 1343025"/>
              <a:gd name="connsiteY4" fmla="*/ 403384 h 409575"/>
              <a:gd name="connsiteX5" fmla="*/ 1338739 w 1343025"/>
              <a:gd name="connsiteY5" fmla="*/ 403384 h 409575"/>
              <a:gd name="connsiteX6" fmla="*/ 1338739 w 1343025"/>
              <a:gd name="connsiteY6" fmla="*/ 7144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025" h="409575">
                <a:moveTo>
                  <a:pt x="1338739" y="7144"/>
                </a:moveTo>
                <a:lnTo>
                  <a:pt x="205264" y="7144"/>
                </a:lnTo>
                <a:cubicBezTo>
                  <a:pt x="205264" y="7144"/>
                  <a:pt x="7144" y="7144"/>
                  <a:pt x="7144" y="201454"/>
                </a:cubicBezTo>
                <a:lnTo>
                  <a:pt x="7144" y="209074"/>
                </a:lnTo>
                <a:cubicBezTo>
                  <a:pt x="7144" y="209074"/>
                  <a:pt x="7144" y="403384"/>
                  <a:pt x="205264" y="403384"/>
                </a:cubicBezTo>
                <a:lnTo>
                  <a:pt x="1338739" y="403384"/>
                </a:lnTo>
                <a:lnTo>
                  <a:pt x="1338739" y="714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0FCCDE26-7222-4C1B-884A-0FAE84FA57DB}"/>
              </a:ext>
            </a:extLst>
          </p:cNvPr>
          <p:cNvSpPr/>
          <p:nvPr userDrawn="1"/>
        </p:nvSpPr>
        <p:spPr>
          <a:xfrm>
            <a:off x="8607090" y="4437664"/>
            <a:ext cx="3595584" cy="922135"/>
          </a:xfrm>
          <a:custGeom>
            <a:avLst/>
            <a:gdLst>
              <a:gd name="connsiteX0" fmla="*/ 2697957 w 2705100"/>
              <a:gd name="connsiteY0" fmla="*/ 7144 h 695325"/>
              <a:gd name="connsiteX1" fmla="*/ 345281 w 2705100"/>
              <a:gd name="connsiteY1" fmla="*/ 7144 h 695325"/>
              <a:gd name="connsiteX2" fmla="*/ 7144 w 2705100"/>
              <a:gd name="connsiteY2" fmla="*/ 344329 h 695325"/>
              <a:gd name="connsiteX3" fmla="*/ 7144 w 2705100"/>
              <a:gd name="connsiteY3" fmla="*/ 356711 h 695325"/>
              <a:gd name="connsiteX4" fmla="*/ 345281 w 2705100"/>
              <a:gd name="connsiteY4" fmla="*/ 693896 h 695325"/>
              <a:gd name="connsiteX5" fmla="*/ 2697957 w 2705100"/>
              <a:gd name="connsiteY5" fmla="*/ 693896 h 695325"/>
              <a:gd name="connsiteX6" fmla="*/ 2697957 w 2705100"/>
              <a:gd name="connsiteY6" fmla="*/ 7144 h 69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05100" h="695325">
                <a:moveTo>
                  <a:pt x="2697957" y="7144"/>
                </a:moveTo>
                <a:lnTo>
                  <a:pt x="345281" y="7144"/>
                </a:lnTo>
                <a:cubicBezTo>
                  <a:pt x="345281" y="7144"/>
                  <a:pt x="7144" y="7144"/>
                  <a:pt x="7144" y="344329"/>
                </a:cubicBezTo>
                <a:lnTo>
                  <a:pt x="7144" y="356711"/>
                </a:lnTo>
                <a:cubicBezTo>
                  <a:pt x="7144" y="356711"/>
                  <a:pt x="7144" y="693896"/>
                  <a:pt x="345281" y="693896"/>
                </a:cubicBezTo>
                <a:lnTo>
                  <a:pt x="2697957" y="693896"/>
                </a:lnTo>
                <a:lnTo>
                  <a:pt x="2697957" y="714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81126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6F44C9A9-0E74-4918-9B66-273196D2956C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4FD74D9D-1BEE-4A13-ABAA-5FBA5C4D1BFA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053F33-9837-4E9F-8D29-24A800D841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781050"/>
            <a:ext cx="10515600" cy="676275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OMPARISON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DFDBBD-D278-4F5A-BD28-172F5B157E8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93286" y="2959593"/>
            <a:ext cx="4183650" cy="365125"/>
          </a:xfrm>
        </p:spPr>
        <p:txBody>
          <a:bodyPr>
            <a:normAutofit/>
          </a:bodyPr>
          <a:lstStyle>
            <a:lvl1pPr marL="0" indent="0">
              <a:buNone/>
              <a:defRPr sz="25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1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C990C5BD-BC2C-4822-AA4E-446B77052F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066" y="1898650"/>
            <a:ext cx="10515599" cy="701675"/>
          </a:xfrm>
        </p:spPr>
        <p:txBody>
          <a:bodyPr>
            <a:noAutofit/>
          </a:bodyPr>
          <a:lstStyle>
            <a:lvl1pPr marL="0" indent="0" algn="ctr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2" name="Graphic 19">
            <a:extLst>
              <a:ext uri="{FF2B5EF4-FFF2-40B4-BE49-F238E27FC236}">
                <a16:creationId xmlns:a16="http://schemas.microsoft.com/office/drawing/2014/main" id="{258EB2BC-F42B-4177-83EB-F2D2BF76129C}"/>
              </a:ext>
            </a:extLst>
          </p:cNvPr>
          <p:cNvSpPr/>
          <p:nvPr userDrawn="1"/>
        </p:nvSpPr>
        <p:spPr>
          <a:xfrm>
            <a:off x="3019044" y="1583026"/>
            <a:ext cx="6153912" cy="151200"/>
          </a:xfrm>
          <a:custGeom>
            <a:avLst/>
            <a:gdLst>
              <a:gd name="connsiteX0" fmla="*/ 4568666 w 4629150"/>
              <a:gd name="connsiteY0" fmla="*/ 118586 h 123825"/>
              <a:gd name="connsiteX1" fmla="*/ 62389 w 4629150"/>
              <a:gd name="connsiteY1" fmla="*/ 118586 h 123825"/>
              <a:gd name="connsiteX2" fmla="*/ 7144 w 4629150"/>
              <a:gd name="connsiteY2" fmla="*/ 62389 h 123825"/>
              <a:gd name="connsiteX3" fmla="*/ 7144 w 4629150"/>
              <a:gd name="connsiteY3" fmla="*/ 62389 h 123825"/>
              <a:gd name="connsiteX4" fmla="*/ 62389 w 4629150"/>
              <a:gd name="connsiteY4" fmla="*/ 7144 h 123825"/>
              <a:gd name="connsiteX5" fmla="*/ 4568666 w 4629150"/>
              <a:gd name="connsiteY5" fmla="*/ 7144 h 123825"/>
              <a:gd name="connsiteX6" fmla="*/ 4623912 w 4629150"/>
              <a:gd name="connsiteY6" fmla="*/ 62389 h 123825"/>
              <a:gd name="connsiteX7" fmla="*/ 4623912 w 4629150"/>
              <a:gd name="connsiteY7" fmla="*/ 62389 h 123825"/>
              <a:gd name="connsiteX8" fmla="*/ 4568666 w 4629150"/>
              <a:gd name="connsiteY8" fmla="*/ 118586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9150" h="123825">
                <a:moveTo>
                  <a:pt x="4568666" y="118586"/>
                </a:moveTo>
                <a:lnTo>
                  <a:pt x="62389" y="118586"/>
                </a:lnTo>
                <a:cubicBezTo>
                  <a:pt x="31909" y="118586"/>
                  <a:pt x="7144" y="92869"/>
                  <a:pt x="7144" y="62389"/>
                </a:cubicBezTo>
                <a:lnTo>
                  <a:pt x="7144" y="62389"/>
                </a:lnTo>
                <a:cubicBezTo>
                  <a:pt x="7144" y="31909"/>
                  <a:pt x="31909" y="7144"/>
                  <a:pt x="62389" y="7144"/>
                </a:cubicBezTo>
                <a:lnTo>
                  <a:pt x="4568666" y="7144"/>
                </a:lnTo>
                <a:cubicBezTo>
                  <a:pt x="4599147" y="7144"/>
                  <a:pt x="4623912" y="31909"/>
                  <a:pt x="4623912" y="62389"/>
                </a:cubicBezTo>
                <a:lnTo>
                  <a:pt x="4623912" y="62389"/>
                </a:lnTo>
                <a:cubicBezTo>
                  <a:pt x="4623912" y="92869"/>
                  <a:pt x="4599147" y="118586"/>
                  <a:pt x="4568666" y="1185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971AAD9-2660-4922-9B41-C45976A31C4F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55960" y="2959593"/>
            <a:ext cx="4183650" cy="365125"/>
          </a:xfrm>
        </p:spPr>
        <p:txBody>
          <a:bodyPr>
            <a:normAutofit/>
          </a:bodyPr>
          <a:lstStyle>
            <a:lvl1pPr marL="0" indent="0">
              <a:buNone/>
              <a:defRPr sz="25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2 TITLE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D0525F80-1CD7-406E-A2B0-ACB0CD78A32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1311" y="3294245"/>
            <a:ext cx="4365625" cy="2333625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527B617A-AB11-44E9-B2E2-53B7F35CD9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73985" y="3294245"/>
            <a:ext cx="4365625" cy="2333625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F4C9083C-573A-4951-8064-8A2074E45857}"/>
              </a:ext>
            </a:extLst>
          </p:cNvPr>
          <p:cNvGrpSpPr/>
          <p:nvPr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24D028E-B0C2-46BA-B6A7-734B26FEA98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FD2C3DF-070C-48BB-8EC1-3FE31FCD20DC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503CC8C-61AD-4DAB-B26E-509EA44669D4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BB58BBD-BF4B-44A6-A2C8-AF1BE81D516E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02EAB3F-89ED-4532-AC15-8D6D0DE40EEB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14D3737-C4D1-46DE-A197-29A638CA1F30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793452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8FF9A-E402-4FF3-801C-ECF3108F0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9F9171-10C6-40D4-BC6A-F1FC76B8CA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D30282-4293-4A14-BC28-613097FB3E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DD820C-70C7-4E7C-BA6E-0B836B6B5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012821-069A-479A-B8B3-438BA217B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01961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6BE8D45D-1E08-4F59-96CC-EA53D7CA6AB0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8E968353-82DA-42A2-88B6-AEFCF124AF4E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053F33-9837-4E9F-8D29-24A800D841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42753" y="1474969"/>
            <a:ext cx="4395258" cy="676275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 dirty="0"/>
              <a:t>CHART SLID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C990C5BD-BC2C-4822-AA4E-446B77052F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49889" y="2592569"/>
            <a:ext cx="5630885" cy="701675"/>
          </a:xfrm>
        </p:spPr>
        <p:txBody>
          <a:bodyPr>
            <a:noAutofit/>
          </a:bodyPr>
          <a:lstStyle>
            <a:lvl1pPr marL="0" indent="0" algn="l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971AAD9-2660-4922-9B41-C45976A31C4F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26385" y="3719427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30%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527B617A-AB11-44E9-B2E2-53B7F35CD9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6386" y="3990708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ategory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080FED-3BFC-4CCC-8B5A-A2942CA5CF3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126410" y="4451492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10%</a:t>
            </a: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E7EC8229-D712-4FD1-990B-9212FC211A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6411" y="4722773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ategory Tit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7341020-DCB7-4CC5-BE55-AAAF421822E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065899" y="3719427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25%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1896019-AE20-47E2-AA66-ED9D16B2DA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5900" y="3990708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ategory Tit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12C49D2-92E0-4567-8BD4-9B8FC0536701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065924" y="4451492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10%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6B5DA211-72E1-4B00-AA61-980CE5A345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65925" y="4722773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ategory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7CF7C63-619A-46EE-AF36-FCA26441A064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10005413" y="3719427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20%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2E0EA61-C10D-4760-B03F-F27BCF1FC2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05414" y="3990708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ategory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A3A14FA-D9E9-4000-B30C-14CADBFE48F6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10005438" y="4451492"/>
            <a:ext cx="1597889" cy="365125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5%</a:t>
            </a:r>
          </a:p>
        </p:txBody>
      </p:sp>
      <p:sp>
        <p:nvSpPr>
          <p:cNvPr id="39" name="Text Placeholder 26">
            <a:extLst>
              <a:ext uri="{FF2B5EF4-FFF2-40B4-BE49-F238E27FC236}">
                <a16:creationId xmlns:a16="http://schemas.microsoft.com/office/drawing/2014/main" id="{0FBCB607-92E0-4206-871B-10CAEB3377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005439" y="4722773"/>
            <a:ext cx="1597889" cy="365125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Clr>
                <a:schemeClr val="accent3"/>
              </a:buClr>
              <a:buNone/>
              <a:defRPr sz="1400" b="1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ategory Title</a:t>
            </a:r>
          </a:p>
        </p:txBody>
      </p:sp>
      <p:sp>
        <p:nvSpPr>
          <p:cNvPr id="19" name="Chart Placeholder 18">
            <a:extLst>
              <a:ext uri="{FF2B5EF4-FFF2-40B4-BE49-F238E27FC236}">
                <a16:creationId xmlns:a16="http://schemas.microsoft.com/office/drawing/2014/main" id="{08CD548A-F4DA-41C7-BC55-620C696D5A6A}"/>
              </a:ext>
            </a:extLst>
          </p:cNvPr>
          <p:cNvSpPr>
            <a:spLocks noGrp="1"/>
          </p:cNvSpPr>
          <p:nvPr>
            <p:ph type="chart" sz="quarter" idx="32"/>
          </p:nvPr>
        </p:nvSpPr>
        <p:spPr>
          <a:xfrm>
            <a:off x="911225" y="908050"/>
            <a:ext cx="4284663" cy="4365625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ko-KR"/>
              <a:t>Click icon to add chart</a:t>
            </a:r>
            <a:endParaRPr lang="ru-RU" dirty="0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D0A213E0-4DC9-4F6A-98B8-21DE9AE2D9B0}"/>
              </a:ext>
            </a:extLst>
          </p:cNvPr>
          <p:cNvGrpSpPr/>
          <p:nvPr userDrawn="1"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4312820-32BB-4DFC-B775-2031DE03F33E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9B4581F-B122-40B8-BE37-64894A713B38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7CF8C75-A610-43BA-923F-335A6051357D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6793F9B-5B71-414E-9CB2-2B76F8308871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807DE94-0E8D-4E1B-A7D2-E0F91AF2E54C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BC592BA-C191-49B5-8F41-8E14CFFDAC40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3" name="Graphic 50">
            <a:extLst>
              <a:ext uri="{FF2B5EF4-FFF2-40B4-BE49-F238E27FC236}">
                <a16:creationId xmlns:a16="http://schemas.microsoft.com/office/drawing/2014/main" id="{33AA43FA-C2DC-406C-BFE6-A2A804112236}"/>
              </a:ext>
            </a:extLst>
          </p:cNvPr>
          <p:cNvSpPr/>
          <p:nvPr/>
        </p:nvSpPr>
        <p:spPr>
          <a:xfrm>
            <a:off x="5731819" y="2267879"/>
            <a:ext cx="3016875" cy="165305"/>
          </a:xfrm>
          <a:custGeom>
            <a:avLst/>
            <a:gdLst>
              <a:gd name="connsiteX0" fmla="*/ 2957222 w 3016875"/>
              <a:gd name="connsiteY0" fmla="*/ 159503 h 165304"/>
              <a:gd name="connsiteX1" fmla="*/ 71329 w 3016875"/>
              <a:gd name="connsiteY1" fmla="*/ 159503 h 165304"/>
              <a:gd name="connsiteX2" fmla="*/ 9059 w 3016875"/>
              <a:gd name="connsiteY2" fmla="*/ 84480 h 165304"/>
              <a:gd name="connsiteX3" fmla="*/ 9059 w 3016875"/>
              <a:gd name="connsiteY3" fmla="*/ 84480 h 165304"/>
              <a:gd name="connsiteX4" fmla="*/ 71329 w 3016875"/>
              <a:gd name="connsiteY4" fmla="*/ 10729 h 165304"/>
              <a:gd name="connsiteX5" fmla="*/ 2956149 w 3016875"/>
              <a:gd name="connsiteY5" fmla="*/ 10729 h 165304"/>
              <a:gd name="connsiteX6" fmla="*/ 3018419 w 3016875"/>
              <a:gd name="connsiteY6" fmla="*/ 84480 h 165304"/>
              <a:gd name="connsiteX7" fmla="*/ 3018419 w 3016875"/>
              <a:gd name="connsiteY7" fmla="*/ 84480 h 165304"/>
              <a:gd name="connsiteX8" fmla="*/ 2957222 w 3016875"/>
              <a:gd name="connsiteY8" fmla="*/ 159503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16875" h="165304">
                <a:moveTo>
                  <a:pt x="2957222" y="159503"/>
                </a:moveTo>
                <a:lnTo>
                  <a:pt x="71329" y="159503"/>
                </a:lnTo>
                <a:cubicBezTo>
                  <a:pt x="36973" y="159503"/>
                  <a:pt x="9059" y="125171"/>
                  <a:pt x="9059" y="84480"/>
                </a:cubicBezTo>
                <a:lnTo>
                  <a:pt x="9059" y="84480"/>
                </a:lnTo>
                <a:cubicBezTo>
                  <a:pt x="9059" y="43790"/>
                  <a:pt x="36973" y="10729"/>
                  <a:pt x="71329" y="10729"/>
                </a:cubicBezTo>
                <a:lnTo>
                  <a:pt x="2956149" y="10729"/>
                </a:lnTo>
                <a:cubicBezTo>
                  <a:pt x="2990505" y="10729"/>
                  <a:pt x="3018419" y="43790"/>
                  <a:pt x="3018419" y="84480"/>
                </a:cubicBezTo>
                <a:lnTo>
                  <a:pt x="3018419" y="84480"/>
                </a:lnTo>
                <a:cubicBezTo>
                  <a:pt x="3019492" y="125171"/>
                  <a:pt x="2991578" y="159503"/>
                  <a:pt x="2957222" y="15950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0716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87616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Oval 51">
            <a:extLst>
              <a:ext uri="{FF2B5EF4-FFF2-40B4-BE49-F238E27FC236}">
                <a16:creationId xmlns:a16="http://schemas.microsoft.com/office/drawing/2014/main" id="{F21AF1E2-466C-487E-86AF-CA6FFFCA2720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3" name="Graphic 12">
            <a:extLst>
              <a:ext uri="{FF2B5EF4-FFF2-40B4-BE49-F238E27FC236}">
                <a16:creationId xmlns:a16="http://schemas.microsoft.com/office/drawing/2014/main" id="{531F1BC1-79BD-45BA-B27E-7A2C62A65EC9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053F33-9837-4E9F-8D29-24A800D841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744" y="2134675"/>
            <a:ext cx="3403308" cy="676275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 dirty="0"/>
              <a:t>TABLE SLID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C990C5BD-BC2C-4822-AA4E-446B77052F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9405" y="3252275"/>
            <a:ext cx="3396171" cy="1846732"/>
          </a:xfrm>
        </p:spPr>
        <p:txBody>
          <a:bodyPr>
            <a:noAutofit/>
          </a:bodyPr>
          <a:lstStyle>
            <a:lvl1pPr marL="0" indent="0" algn="l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18" name="Table Placeholder 17">
            <a:extLst>
              <a:ext uri="{FF2B5EF4-FFF2-40B4-BE49-F238E27FC236}">
                <a16:creationId xmlns:a16="http://schemas.microsoft.com/office/drawing/2014/main" id="{3AF64257-E00C-4FE5-925B-A78911D1D2B9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724400" y="1493214"/>
            <a:ext cx="6561138" cy="3847135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ko-KR"/>
              <a:t>Click icon to add table</a:t>
            </a:r>
            <a:endParaRPr lang="ru-RU" dirty="0"/>
          </a:p>
        </p:txBody>
      </p:sp>
      <p:grpSp>
        <p:nvGrpSpPr>
          <p:cNvPr id="45" name="Graphic 39">
            <a:extLst>
              <a:ext uri="{FF2B5EF4-FFF2-40B4-BE49-F238E27FC236}">
                <a16:creationId xmlns:a16="http://schemas.microsoft.com/office/drawing/2014/main" id="{2B29CFAD-7DFA-43C8-BC78-F666303C4A65}"/>
              </a:ext>
            </a:extLst>
          </p:cNvPr>
          <p:cNvGrpSpPr/>
          <p:nvPr userDrawn="1"/>
        </p:nvGrpSpPr>
        <p:grpSpPr>
          <a:xfrm flipH="1">
            <a:off x="-3477" y="0"/>
            <a:ext cx="2188800" cy="1933794"/>
            <a:chOff x="10003200" y="0"/>
            <a:chExt cx="2188800" cy="1933794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709766F-07C2-47E0-94AE-482595B63D17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9F02ED7-2803-4FC7-8D17-DB9AF81B2257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715C276-3245-4E87-976F-10DC35AF0E89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D4F9402-D548-4465-B31D-5C89E49D8F2D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4C16800-96DF-4B5C-B15B-EB27E1475EB3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E9DBF7F-0A02-4C85-A28D-3C88C66B3486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3" name="Graphic 54">
            <a:extLst>
              <a:ext uri="{FF2B5EF4-FFF2-40B4-BE49-F238E27FC236}">
                <a16:creationId xmlns:a16="http://schemas.microsoft.com/office/drawing/2014/main" id="{A1820133-6B1B-4297-8A79-2E89B2C7199B}"/>
              </a:ext>
            </a:extLst>
          </p:cNvPr>
          <p:cNvSpPr/>
          <p:nvPr/>
        </p:nvSpPr>
        <p:spPr>
          <a:xfrm>
            <a:off x="895660" y="2912161"/>
            <a:ext cx="2781900" cy="165305"/>
          </a:xfrm>
          <a:custGeom>
            <a:avLst/>
            <a:gdLst>
              <a:gd name="connsiteX0" fmla="*/ 2726257 w 2781900"/>
              <a:gd name="connsiteY0" fmla="*/ 158686 h 165304"/>
              <a:gd name="connsiteX1" fmla="*/ 65137 w 2781900"/>
              <a:gd name="connsiteY1" fmla="*/ 158686 h 165304"/>
              <a:gd name="connsiteX2" fmla="*/ 7717 w 2781900"/>
              <a:gd name="connsiteY2" fmla="*/ 83663 h 165304"/>
              <a:gd name="connsiteX3" fmla="*/ 7717 w 2781900"/>
              <a:gd name="connsiteY3" fmla="*/ 83663 h 165304"/>
              <a:gd name="connsiteX4" fmla="*/ 65137 w 2781900"/>
              <a:gd name="connsiteY4" fmla="*/ 9911 h 165304"/>
              <a:gd name="connsiteX5" fmla="*/ 2725267 w 2781900"/>
              <a:gd name="connsiteY5" fmla="*/ 9911 h 165304"/>
              <a:gd name="connsiteX6" fmla="*/ 2782687 w 2781900"/>
              <a:gd name="connsiteY6" fmla="*/ 83663 h 165304"/>
              <a:gd name="connsiteX7" fmla="*/ 2782687 w 2781900"/>
              <a:gd name="connsiteY7" fmla="*/ 83663 h 165304"/>
              <a:gd name="connsiteX8" fmla="*/ 2726257 w 2781900"/>
              <a:gd name="connsiteY8" fmla="*/ 158686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81900" h="165304">
                <a:moveTo>
                  <a:pt x="2726257" y="158686"/>
                </a:moveTo>
                <a:lnTo>
                  <a:pt x="65137" y="158686"/>
                </a:lnTo>
                <a:cubicBezTo>
                  <a:pt x="33457" y="158686"/>
                  <a:pt x="7717" y="124353"/>
                  <a:pt x="7717" y="83663"/>
                </a:cubicBezTo>
                <a:lnTo>
                  <a:pt x="7717" y="83663"/>
                </a:lnTo>
                <a:cubicBezTo>
                  <a:pt x="7717" y="42972"/>
                  <a:pt x="33457" y="9911"/>
                  <a:pt x="65137" y="9911"/>
                </a:cubicBezTo>
                <a:lnTo>
                  <a:pt x="2725267" y="9911"/>
                </a:lnTo>
                <a:cubicBezTo>
                  <a:pt x="2756947" y="9911"/>
                  <a:pt x="2782687" y="42972"/>
                  <a:pt x="2782687" y="83663"/>
                </a:cubicBezTo>
                <a:lnTo>
                  <a:pt x="2782687" y="83663"/>
                </a:lnTo>
                <a:cubicBezTo>
                  <a:pt x="2783677" y="124353"/>
                  <a:pt x="2757937" y="158686"/>
                  <a:pt x="2726257" y="1586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899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94584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3767FEE9-DC75-4465-BA6B-06E00CF6A27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0660" cy="5569499"/>
          </a:xfrm>
          <a:custGeom>
            <a:avLst/>
            <a:gdLst>
              <a:gd name="connsiteX0" fmla="*/ 0 w 12190660"/>
              <a:gd name="connsiteY0" fmla="*/ 0 h 5569499"/>
              <a:gd name="connsiteX1" fmla="*/ 10154649 w 12190660"/>
              <a:gd name="connsiteY1" fmla="*/ 0 h 5569499"/>
              <a:gd name="connsiteX2" fmla="*/ 7708389 w 12190660"/>
              <a:gd name="connsiteY2" fmla="*/ 1206619 h 5569499"/>
              <a:gd name="connsiteX3" fmla="*/ 7464525 w 12190660"/>
              <a:gd name="connsiteY3" fmla="*/ 1403488 h 5569499"/>
              <a:gd name="connsiteX4" fmla="*/ 7401019 w 12190660"/>
              <a:gd name="connsiteY4" fmla="*/ 1973774 h 5569499"/>
              <a:gd name="connsiteX5" fmla="*/ 7409910 w 12190660"/>
              <a:gd name="connsiteY5" fmla="*/ 1991556 h 5569499"/>
              <a:gd name="connsiteX6" fmla="*/ 7600428 w 12190660"/>
              <a:gd name="connsiteY6" fmla="*/ 2204937 h 5569499"/>
              <a:gd name="connsiteX7" fmla="*/ 7891287 w 12190660"/>
              <a:gd name="connsiteY7" fmla="*/ 2295116 h 5569499"/>
              <a:gd name="connsiteX8" fmla="*/ 8205008 w 12190660"/>
              <a:gd name="connsiteY8" fmla="*/ 2213828 h 5569499"/>
              <a:gd name="connsiteX9" fmla="*/ 12190660 w 12190660"/>
              <a:gd name="connsiteY9" fmla="*/ 248944 h 5569499"/>
              <a:gd name="connsiteX10" fmla="*/ 12190660 w 12190660"/>
              <a:gd name="connsiteY10" fmla="*/ 449624 h 5569499"/>
              <a:gd name="connsiteX11" fmla="*/ 10261340 w 12190660"/>
              <a:gd name="connsiteY11" fmla="*/ 1400948 h 5569499"/>
              <a:gd name="connsiteX12" fmla="*/ 9931108 w 12190660"/>
              <a:gd name="connsiteY12" fmla="*/ 1680375 h 5569499"/>
              <a:gd name="connsiteX13" fmla="*/ 9879032 w 12190660"/>
              <a:gd name="connsiteY13" fmla="*/ 2528819 h 5569499"/>
              <a:gd name="connsiteX14" fmla="*/ 9893004 w 12190660"/>
              <a:gd name="connsiteY14" fmla="*/ 2556762 h 5569499"/>
              <a:gd name="connsiteX15" fmla="*/ 10172431 w 12190660"/>
              <a:gd name="connsiteY15" fmla="*/ 2886994 h 5569499"/>
              <a:gd name="connsiteX16" fmla="*/ 10618245 w 12190660"/>
              <a:gd name="connsiteY16" fmla="*/ 3041950 h 5569499"/>
              <a:gd name="connsiteX17" fmla="*/ 11019604 w 12190660"/>
              <a:gd name="connsiteY17" fmla="*/ 2939069 h 5569499"/>
              <a:gd name="connsiteX18" fmla="*/ 12190660 w 12190660"/>
              <a:gd name="connsiteY18" fmla="*/ 2362433 h 5569499"/>
              <a:gd name="connsiteX19" fmla="*/ 12190660 w 12190660"/>
              <a:gd name="connsiteY19" fmla="*/ 5569499 h 5569499"/>
              <a:gd name="connsiteX20" fmla="*/ 0 w 12190660"/>
              <a:gd name="connsiteY20" fmla="*/ 5569499 h 5569499"/>
              <a:gd name="connsiteX21" fmla="*/ 0 w 12190660"/>
              <a:gd name="connsiteY21" fmla="*/ 4872200 h 5569499"/>
              <a:gd name="connsiteX22" fmla="*/ 1553363 w 12190660"/>
              <a:gd name="connsiteY22" fmla="*/ 4107584 h 5569499"/>
              <a:gd name="connsiteX23" fmla="*/ 1698157 w 12190660"/>
              <a:gd name="connsiteY23" fmla="*/ 3842128 h 5569499"/>
              <a:gd name="connsiteX24" fmla="*/ 1695617 w 12190660"/>
              <a:gd name="connsiteY24" fmla="*/ 3835778 h 5569499"/>
              <a:gd name="connsiteX25" fmla="*/ 1693077 w 12190660"/>
              <a:gd name="connsiteY25" fmla="*/ 3831968 h 5569499"/>
              <a:gd name="connsiteX26" fmla="*/ 2488175 w 12190660"/>
              <a:gd name="connsiteY26" fmla="*/ 3439499 h 5569499"/>
              <a:gd name="connsiteX27" fmla="*/ 2795545 w 12190660"/>
              <a:gd name="connsiteY27" fmla="*/ 2672343 h 5569499"/>
              <a:gd name="connsiteX28" fmla="*/ 2786654 w 12190660"/>
              <a:gd name="connsiteY28" fmla="*/ 2654561 h 5569499"/>
              <a:gd name="connsiteX29" fmla="*/ 1991556 w 12190660"/>
              <a:gd name="connsiteY29" fmla="*/ 2432290 h 5569499"/>
              <a:gd name="connsiteX30" fmla="*/ 0 w 12190660"/>
              <a:gd name="connsiteY30" fmla="*/ 3414096 h 5569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0660" h="5569499">
                <a:moveTo>
                  <a:pt x="0" y="0"/>
                </a:moveTo>
                <a:lnTo>
                  <a:pt x="10154649" y="0"/>
                </a:lnTo>
                <a:lnTo>
                  <a:pt x="7708389" y="1206619"/>
                </a:lnTo>
                <a:cubicBezTo>
                  <a:pt x="7703308" y="1210429"/>
                  <a:pt x="7569945" y="1276476"/>
                  <a:pt x="7464525" y="1403488"/>
                </a:cubicBezTo>
                <a:cubicBezTo>
                  <a:pt x="7365455" y="1522880"/>
                  <a:pt x="7275276" y="1718479"/>
                  <a:pt x="7401019" y="1973774"/>
                </a:cubicBezTo>
                <a:lnTo>
                  <a:pt x="7409910" y="1991556"/>
                </a:lnTo>
                <a:cubicBezTo>
                  <a:pt x="7412449" y="1996637"/>
                  <a:pt x="7472145" y="2117298"/>
                  <a:pt x="7600428" y="2204937"/>
                </a:cubicBezTo>
                <a:cubicBezTo>
                  <a:pt x="7669015" y="2251932"/>
                  <a:pt x="7766815" y="2295116"/>
                  <a:pt x="7891287" y="2295116"/>
                </a:cubicBezTo>
                <a:cubicBezTo>
                  <a:pt x="7981466" y="2295116"/>
                  <a:pt x="8085616" y="2272254"/>
                  <a:pt x="8205008" y="2213828"/>
                </a:cubicBezTo>
                <a:lnTo>
                  <a:pt x="12190660" y="248944"/>
                </a:lnTo>
                <a:lnTo>
                  <a:pt x="12190660" y="449624"/>
                </a:lnTo>
                <a:lnTo>
                  <a:pt x="10261340" y="1400948"/>
                </a:lnTo>
                <a:cubicBezTo>
                  <a:pt x="10253719" y="1404758"/>
                  <a:pt x="10070821" y="1496207"/>
                  <a:pt x="9931108" y="1680375"/>
                </a:cubicBezTo>
                <a:cubicBezTo>
                  <a:pt x="9801555" y="1853112"/>
                  <a:pt x="9687243" y="2138891"/>
                  <a:pt x="9879032" y="2528819"/>
                </a:cubicBezTo>
                <a:lnTo>
                  <a:pt x="9893004" y="2556762"/>
                </a:lnTo>
                <a:cubicBezTo>
                  <a:pt x="9896814" y="2564382"/>
                  <a:pt x="9988263" y="2747281"/>
                  <a:pt x="10172431" y="2886994"/>
                </a:cubicBezTo>
                <a:cubicBezTo>
                  <a:pt x="10277852" y="2967012"/>
                  <a:pt x="10427726" y="3041950"/>
                  <a:pt x="10618245" y="3041950"/>
                </a:cubicBezTo>
                <a:cubicBezTo>
                  <a:pt x="10736366" y="3041950"/>
                  <a:pt x="10869730" y="3012737"/>
                  <a:pt x="11019604" y="2939069"/>
                </a:cubicBezTo>
                <a:lnTo>
                  <a:pt x="12190660" y="2362433"/>
                </a:lnTo>
                <a:lnTo>
                  <a:pt x="12190660" y="5569499"/>
                </a:lnTo>
                <a:lnTo>
                  <a:pt x="0" y="5569499"/>
                </a:lnTo>
                <a:lnTo>
                  <a:pt x="0" y="4872200"/>
                </a:lnTo>
                <a:lnTo>
                  <a:pt x="1553363" y="4107584"/>
                </a:lnTo>
                <a:cubicBezTo>
                  <a:pt x="1553363" y="4107584"/>
                  <a:pt x="1775635" y="3998354"/>
                  <a:pt x="1698157" y="3842128"/>
                </a:cubicBezTo>
                <a:lnTo>
                  <a:pt x="1695617" y="3835778"/>
                </a:lnTo>
                <a:cubicBezTo>
                  <a:pt x="1695617" y="3835778"/>
                  <a:pt x="1694347" y="3834508"/>
                  <a:pt x="1693077" y="3831968"/>
                </a:cubicBezTo>
                <a:lnTo>
                  <a:pt x="2488175" y="3439499"/>
                </a:lnTo>
                <a:cubicBezTo>
                  <a:pt x="2493255" y="3435688"/>
                  <a:pt x="3036869" y="3161341"/>
                  <a:pt x="2795545" y="2672343"/>
                </a:cubicBezTo>
                <a:lnTo>
                  <a:pt x="2786654" y="2654561"/>
                </a:lnTo>
                <a:cubicBezTo>
                  <a:pt x="2784114" y="2649481"/>
                  <a:pt x="2536440" y="2163023"/>
                  <a:pt x="1991556" y="2432290"/>
                </a:cubicBezTo>
                <a:lnTo>
                  <a:pt x="0" y="3414096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altLang="ko-KR"/>
              <a:t>Click icon to add picture</a:t>
            </a:r>
            <a:endParaRPr lang="ru-RU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A0902BC-58E0-4395-9D80-6CF5CA0FAAB0}"/>
              </a:ext>
            </a:extLst>
          </p:cNvPr>
          <p:cNvSpPr/>
          <p:nvPr/>
        </p:nvSpPr>
        <p:spPr>
          <a:xfrm>
            <a:off x="7345849" y="-12701"/>
            <a:ext cx="4851878" cy="2298926"/>
          </a:xfrm>
          <a:custGeom>
            <a:avLst/>
            <a:gdLst>
              <a:gd name="connsiteX0" fmla="*/ 4844811 w 4851877"/>
              <a:gd name="connsiteY0" fmla="*/ 12701 h 2298926"/>
              <a:gd name="connsiteX1" fmla="*/ 2851985 w 4851877"/>
              <a:gd name="connsiteY1" fmla="*/ 12701 h 2298926"/>
              <a:gd name="connsiteX2" fmla="*/ 371430 w 4851877"/>
              <a:gd name="connsiteY2" fmla="*/ 1235832 h 2298926"/>
              <a:gd name="connsiteX3" fmla="*/ 72951 w 4851877"/>
              <a:gd name="connsiteY3" fmla="*/ 1977585 h 2298926"/>
              <a:gd name="connsiteX4" fmla="*/ 81842 w 4851877"/>
              <a:gd name="connsiteY4" fmla="*/ 1995367 h 2298926"/>
              <a:gd name="connsiteX5" fmla="*/ 851538 w 4851877"/>
              <a:gd name="connsiteY5" fmla="*/ 2210018 h 2298926"/>
              <a:gd name="connsiteX6" fmla="*/ 4844811 w 4851877"/>
              <a:gd name="connsiteY6" fmla="*/ 240054 h 2298926"/>
              <a:gd name="connsiteX7" fmla="*/ 4844811 w 4851877"/>
              <a:gd name="connsiteY7" fmla="*/ 12701 h 22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51877" h="2298926">
                <a:moveTo>
                  <a:pt x="4844811" y="12701"/>
                </a:moveTo>
                <a:lnTo>
                  <a:pt x="2851985" y="12701"/>
                </a:lnTo>
                <a:lnTo>
                  <a:pt x="371430" y="1235832"/>
                </a:lnTo>
                <a:cubicBezTo>
                  <a:pt x="371430" y="1235832"/>
                  <a:pt x="-163292" y="1500018"/>
                  <a:pt x="72951" y="1977585"/>
                </a:cubicBezTo>
                <a:lnTo>
                  <a:pt x="81842" y="1995367"/>
                </a:lnTo>
                <a:cubicBezTo>
                  <a:pt x="81842" y="1995367"/>
                  <a:pt x="316815" y="2472934"/>
                  <a:pt x="851538" y="2210018"/>
                </a:cubicBezTo>
                <a:lnTo>
                  <a:pt x="4844811" y="240054"/>
                </a:lnTo>
                <a:lnTo>
                  <a:pt x="4844811" y="1270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5DCE3DA5-C000-4DAD-8FCD-9A285AB48C83}"/>
              </a:ext>
            </a:extLst>
          </p:cNvPr>
          <p:cNvSpPr/>
          <p:nvPr/>
        </p:nvSpPr>
        <p:spPr>
          <a:xfrm>
            <a:off x="9782306" y="458515"/>
            <a:ext cx="2413238" cy="2578354"/>
          </a:xfrm>
          <a:custGeom>
            <a:avLst/>
            <a:gdLst>
              <a:gd name="connsiteX0" fmla="*/ 2408354 w 2413237"/>
              <a:gd name="connsiteY0" fmla="*/ 12701 h 2578353"/>
              <a:gd name="connsiteX1" fmla="*/ 487924 w 2413237"/>
              <a:gd name="connsiteY1" fmla="*/ 960215 h 2578353"/>
              <a:gd name="connsiteX2" fmla="*/ 113238 w 2413237"/>
              <a:gd name="connsiteY2" fmla="*/ 2062683 h 2578353"/>
              <a:gd name="connsiteX3" fmla="*/ 127209 w 2413237"/>
              <a:gd name="connsiteY3" fmla="*/ 2090626 h 2578353"/>
              <a:gd name="connsiteX4" fmla="*/ 1229678 w 2413237"/>
              <a:gd name="connsiteY4" fmla="*/ 2465313 h 2578353"/>
              <a:gd name="connsiteX5" fmla="*/ 2408354 w 2413237"/>
              <a:gd name="connsiteY5" fmla="*/ 1883595 h 2578353"/>
              <a:gd name="connsiteX6" fmla="*/ 2408354 w 2413237"/>
              <a:gd name="connsiteY6" fmla="*/ 12701 h 2578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13237" h="2578353">
                <a:moveTo>
                  <a:pt x="2408354" y="12701"/>
                </a:moveTo>
                <a:lnTo>
                  <a:pt x="487924" y="960215"/>
                </a:lnTo>
                <a:cubicBezTo>
                  <a:pt x="487924" y="960215"/>
                  <a:pt x="-250018" y="1324740"/>
                  <a:pt x="113238" y="2062683"/>
                </a:cubicBezTo>
                <a:lnTo>
                  <a:pt x="127209" y="2090626"/>
                </a:lnTo>
                <a:cubicBezTo>
                  <a:pt x="127209" y="2090626"/>
                  <a:pt x="491735" y="2828568"/>
                  <a:pt x="1229678" y="2465313"/>
                </a:cubicBezTo>
                <a:lnTo>
                  <a:pt x="2408354" y="1883595"/>
                </a:lnTo>
                <a:lnTo>
                  <a:pt x="2408354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AE88C29-9AC8-4A6D-9141-98B2210C7466}"/>
              </a:ext>
            </a:extLst>
          </p:cNvPr>
          <p:cNvSpPr/>
          <p:nvPr/>
        </p:nvSpPr>
        <p:spPr>
          <a:xfrm>
            <a:off x="-12701" y="2355829"/>
            <a:ext cx="2857781" cy="2298926"/>
          </a:xfrm>
          <a:custGeom>
            <a:avLst/>
            <a:gdLst>
              <a:gd name="connsiteX0" fmla="*/ 2782844 w 2857781"/>
              <a:gd name="connsiteY0" fmla="*/ 306353 h 2298926"/>
              <a:gd name="connsiteX1" fmla="*/ 2013148 w 2857781"/>
              <a:gd name="connsiteY1" fmla="*/ 91702 h 2298926"/>
              <a:gd name="connsiteX2" fmla="*/ 12701 w 2857781"/>
              <a:gd name="connsiteY2" fmla="*/ 1078589 h 2298926"/>
              <a:gd name="connsiteX3" fmla="*/ 12701 w 2857781"/>
              <a:gd name="connsiteY3" fmla="*/ 2289019 h 2298926"/>
              <a:gd name="connsiteX4" fmla="*/ 2491985 w 2857781"/>
              <a:gd name="connsiteY4" fmla="*/ 1065888 h 2298926"/>
              <a:gd name="connsiteX5" fmla="*/ 2790465 w 2857781"/>
              <a:gd name="connsiteY5" fmla="*/ 324135 h 2298926"/>
              <a:gd name="connsiteX6" fmla="*/ 2782844 w 2857781"/>
              <a:gd name="connsiteY6" fmla="*/ 306353 h 22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7781" h="2298926">
                <a:moveTo>
                  <a:pt x="2782844" y="306353"/>
                </a:moveTo>
                <a:cubicBezTo>
                  <a:pt x="2782844" y="306353"/>
                  <a:pt x="2547871" y="-171214"/>
                  <a:pt x="2013148" y="91702"/>
                </a:cubicBezTo>
                <a:lnTo>
                  <a:pt x="12701" y="1078589"/>
                </a:lnTo>
                <a:lnTo>
                  <a:pt x="12701" y="2289019"/>
                </a:lnTo>
                <a:lnTo>
                  <a:pt x="2491985" y="1065888"/>
                </a:lnTo>
                <a:cubicBezTo>
                  <a:pt x="2491985" y="1065888"/>
                  <a:pt x="3026708" y="801702"/>
                  <a:pt x="2790465" y="324135"/>
                </a:cubicBezTo>
                <a:lnTo>
                  <a:pt x="2782844" y="306353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F8CA5B8-0BAD-4554-87FE-E0910E6CD5C5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Graphic 12">
            <a:extLst>
              <a:ext uri="{FF2B5EF4-FFF2-40B4-BE49-F238E27FC236}">
                <a16:creationId xmlns:a16="http://schemas.microsoft.com/office/drawing/2014/main" id="{12CBB0CF-5FCC-4507-BD7B-C02386D2A23C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CB2BB-1ED9-489E-8AC7-2A8D8459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349863"/>
            <a:ext cx="10515600" cy="78263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G IMAGE</a:t>
            </a:r>
            <a:endParaRPr lang="ru-R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208BCD-3B7E-49DF-8BF5-68AE9DD7D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238811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517C1-CBB7-46B0-99AA-851210402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78B29DA7-7E72-4576-8F68-91B70D11C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12987" y="5718810"/>
            <a:ext cx="7366026" cy="946532"/>
          </a:xfrm>
        </p:spPr>
        <p:txBody>
          <a:bodyPr>
            <a:noAutofit/>
          </a:bodyPr>
          <a:lstStyle>
            <a:lvl1pPr marL="0" indent="0" algn="ctr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91E01B-B80B-4194-AC2B-41043EC59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2500" y="5155439"/>
            <a:ext cx="2667000" cy="139903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FBE26926-54A6-49D3-95EA-F31F133A0E3B}"/>
              </a:ext>
            </a:extLst>
          </p:cNvPr>
          <p:cNvSpPr/>
          <p:nvPr/>
        </p:nvSpPr>
        <p:spPr>
          <a:xfrm>
            <a:off x="8826099" y="2044901"/>
            <a:ext cx="736673" cy="736673"/>
          </a:xfrm>
          <a:custGeom>
            <a:avLst/>
            <a:gdLst>
              <a:gd name="connsiteX0" fmla="*/ 372146 w 736672"/>
              <a:gd name="connsiteY0" fmla="*/ 731592 h 736672"/>
              <a:gd name="connsiteX1" fmla="*/ 731592 w 736672"/>
              <a:gd name="connsiteY1" fmla="*/ 372147 h 736672"/>
              <a:gd name="connsiteX2" fmla="*/ 372146 w 736672"/>
              <a:gd name="connsiteY2" fmla="*/ 12701 h 736672"/>
              <a:gd name="connsiteX3" fmla="*/ 12701 w 736672"/>
              <a:gd name="connsiteY3" fmla="*/ 372147 h 736672"/>
              <a:gd name="connsiteX4" fmla="*/ 372146 w 736672"/>
              <a:gd name="connsiteY4" fmla="*/ 731592 h 73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6672" h="736672">
                <a:moveTo>
                  <a:pt x="372146" y="731592"/>
                </a:moveTo>
                <a:cubicBezTo>
                  <a:pt x="570286" y="731592"/>
                  <a:pt x="731592" y="570286"/>
                  <a:pt x="731592" y="372147"/>
                </a:cubicBezTo>
                <a:cubicBezTo>
                  <a:pt x="731592" y="174007"/>
                  <a:pt x="570286" y="12701"/>
                  <a:pt x="372146" y="12701"/>
                </a:cubicBezTo>
                <a:cubicBezTo>
                  <a:pt x="174007" y="12701"/>
                  <a:pt x="12701" y="174007"/>
                  <a:pt x="12701" y="372147"/>
                </a:cubicBezTo>
                <a:cubicBezTo>
                  <a:pt x="12701" y="570286"/>
                  <a:pt x="174007" y="731592"/>
                  <a:pt x="372146" y="731592"/>
                </a:cubicBezTo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C3AFCA09-1411-4603-AEED-DBD79C4BE2CA}"/>
              </a:ext>
            </a:extLst>
          </p:cNvPr>
          <p:cNvSpPr/>
          <p:nvPr/>
        </p:nvSpPr>
        <p:spPr>
          <a:xfrm>
            <a:off x="8810222" y="2029025"/>
            <a:ext cx="774776" cy="774776"/>
          </a:xfrm>
          <a:custGeom>
            <a:avLst/>
            <a:gdLst>
              <a:gd name="connsiteX0" fmla="*/ 388023 w 774776"/>
              <a:gd name="connsiteY0" fmla="*/ 766521 h 774776"/>
              <a:gd name="connsiteX1" fmla="*/ 9526 w 774776"/>
              <a:gd name="connsiteY1" fmla="*/ 388023 h 774776"/>
              <a:gd name="connsiteX2" fmla="*/ 388023 w 774776"/>
              <a:gd name="connsiteY2" fmla="*/ 9526 h 774776"/>
              <a:gd name="connsiteX3" fmla="*/ 766520 w 774776"/>
              <a:gd name="connsiteY3" fmla="*/ 388023 h 774776"/>
              <a:gd name="connsiteX4" fmla="*/ 388023 w 774776"/>
              <a:gd name="connsiteY4" fmla="*/ 766521 h 774776"/>
              <a:gd name="connsiteX5" fmla="*/ 388023 w 774776"/>
              <a:gd name="connsiteY5" fmla="*/ 48900 h 774776"/>
              <a:gd name="connsiteX6" fmla="*/ 47630 w 774776"/>
              <a:gd name="connsiteY6" fmla="*/ 389293 h 774776"/>
              <a:gd name="connsiteX7" fmla="*/ 388023 w 774776"/>
              <a:gd name="connsiteY7" fmla="*/ 729687 h 774776"/>
              <a:gd name="connsiteX8" fmla="*/ 728416 w 774776"/>
              <a:gd name="connsiteY8" fmla="*/ 389293 h 774776"/>
              <a:gd name="connsiteX9" fmla="*/ 388023 w 774776"/>
              <a:gd name="connsiteY9" fmla="*/ 48900 h 774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4776" h="774776">
                <a:moveTo>
                  <a:pt x="388023" y="766521"/>
                </a:moveTo>
                <a:cubicBezTo>
                  <a:pt x="179722" y="766521"/>
                  <a:pt x="9526" y="596324"/>
                  <a:pt x="9526" y="388023"/>
                </a:cubicBezTo>
                <a:cubicBezTo>
                  <a:pt x="9526" y="179723"/>
                  <a:pt x="179722" y="9526"/>
                  <a:pt x="388023" y="9526"/>
                </a:cubicBezTo>
                <a:cubicBezTo>
                  <a:pt x="596323" y="9526"/>
                  <a:pt x="766520" y="179723"/>
                  <a:pt x="766520" y="388023"/>
                </a:cubicBezTo>
                <a:cubicBezTo>
                  <a:pt x="766520" y="596324"/>
                  <a:pt x="596323" y="766521"/>
                  <a:pt x="388023" y="766521"/>
                </a:cubicBezTo>
                <a:close/>
                <a:moveTo>
                  <a:pt x="388023" y="48900"/>
                </a:moveTo>
                <a:cubicBezTo>
                  <a:pt x="200045" y="48900"/>
                  <a:pt x="47630" y="201315"/>
                  <a:pt x="47630" y="389293"/>
                </a:cubicBezTo>
                <a:cubicBezTo>
                  <a:pt x="47630" y="577272"/>
                  <a:pt x="200045" y="729687"/>
                  <a:pt x="388023" y="729687"/>
                </a:cubicBezTo>
                <a:cubicBezTo>
                  <a:pt x="576001" y="729687"/>
                  <a:pt x="728416" y="577272"/>
                  <a:pt x="728416" y="389293"/>
                </a:cubicBezTo>
                <a:cubicBezTo>
                  <a:pt x="728416" y="201315"/>
                  <a:pt x="576001" y="48900"/>
                  <a:pt x="388023" y="4890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E4E0103-B430-4F31-B26F-21E197A41135}"/>
              </a:ext>
            </a:extLst>
          </p:cNvPr>
          <p:cNvSpPr/>
          <p:nvPr/>
        </p:nvSpPr>
        <p:spPr>
          <a:xfrm>
            <a:off x="7329938" y="-9526"/>
            <a:ext cx="4864579" cy="2311628"/>
          </a:xfrm>
          <a:custGeom>
            <a:avLst/>
            <a:gdLst>
              <a:gd name="connsiteX0" fmla="*/ 2911080 w 4864578"/>
              <a:gd name="connsiteY0" fmla="*/ 9526 h 2311627"/>
              <a:gd name="connsiteX1" fmla="*/ 2824712 w 4864578"/>
              <a:gd name="connsiteY1" fmla="*/ 9526 h 2311627"/>
              <a:gd name="connsiteX2" fmla="*/ 378451 w 4864578"/>
              <a:gd name="connsiteY2" fmla="*/ 1216145 h 2311627"/>
              <a:gd name="connsiteX3" fmla="*/ 134587 w 4864578"/>
              <a:gd name="connsiteY3" fmla="*/ 1413014 h 2311627"/>
              <a:gd name="connsiteX4" fmla="*/ 71081 w 4864578"/>
              <a:gd name="connsiteY4" fmla="*/ 1983300 h 2311627"/>
              <a:gd name="connsiteX5" fmla="*/ 79972 w 4864578"/>
              <a:gd name="connsiteY5" fmla="*/ 2001082 h 2311627"/>
              <a:gd name="connsiteX6" fmla="*/ 270491 w 4864578"/>
              <a:gd name="connsiteY6" fmla="*/ 2214463 h 2311627"/>
              <a:gd name="connsiteX7" fmla="*/ 561349 w 4864578"/>
              <a:gd name="connsiteY7" fmla="*/ 2304642 h 2311627"/>
              <a:gd name="connsiteX8" fmla="*/ 875070 w 4864578"/>
              <a:gd name="connsiteY8" fmla="*/ 2223354 h 2311627"/>
              <a:gd name="connsiteX9" fmla="*/ 4860722 w 4864578"/>
              <a:gd name="connsiteY9" fmla="*/ 258470 h 2311627"/>
              <a:gd name="connsiteX10" fmla="*/ 4860722 w 4864578"/>
              <a:gd name="connsiteY10" fmla="*/ 216556 h 2311627"/>
              <a:gd name="connsiteX11" fmla="*/ 858558 w 4864578"/>
              <a:gd name="connsiteY11" fmla="*/ 2189061 h 2311627"/>
              <a:gd name="connsiteX12" fmla="*/ 293353 w 4864578"/>
              <a:gd name="connsiteY12" fmla="*/ 2182710 h 2311627"/>
              <a:gd name="connsiteX13" fmla="*/ 114265 w 4864578"/>
              <a:gd name="connsiteY13" fmla="*/ 1983300 h 2311627"/>
              <a:gd name="connsiteX14" fmla="*/ 105374 w 4864578"/>
              <a:gd name="connsiteY14" fmla="*/ 1965519 h 2311627"/>
              <a:gd name="connsiteX15" fmla="*/ 163800 w 4864578"/>
              <a:gd name="connsiteY15" fmla="*/ 1437147 h 2311627"/>
              <a:gd name="connsiteX16" fmla="*/ 396233 w 4864578"/>
              <a:gd name="connsiteY16" fmla="*/ 1249168 h 2311627"/>
              <a:gd name="connsiteX17" fmla="*/ 396233 w 4864578"/>
              <a:gd name="connsiteY17" fmla="*/ 1249168 h 2311627"/>
              <a:gd name="connsiteX18" fmla="*/ 2911080 w 4864578"/>
              <a:gd name="connsiteY18" fmla="*/ 9526 h 231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864578" h="2311627">
                <a:moveTo>
                  <a:pt x="2911080" y="9526"/>
                </a:moveTo>
                <a:lnTo>
                  <a:pt x="2824712" y="9526"/>
                </a:lnTo>
                <a:lnTo>
                  <a:pt x="378451" y="1216145"/>
                </a:lnTo>
                <a:cubicBezTo>
                  <a:pt x="373371" y="1218685"/>
                  <a:pt x="240007" y="1284732"/>
                  <a:pt x="134587" y="1413014"/>
                </a:cubicBezTo>
                <a:cubicBezTo>
                  <a:pt x="35518" y="1532406"/>
                  <a:pt x="-54662" y="1728005"/>
                  <a:pt x="71081" y="1983300"/>
                </a:cubicBezTo>
                <a:lnTo>
                  <a:pt x="79972" y="2001082"/>
                </a:lnTo>
                <a:cubicBezTo>
                  <a:pt x="82512" y="2006163"/>
                  <a:pt x="142208" y="2125554"/>
                  <a:pt x="270491" y="2214463"/>
                </a:cubicBezTo>
                <a:cubicBezTo>
                  <a:pt x="339077" y="2261458"/>
                  <a:pt x="436877" y="2304642"/>
                  <a:pt x="561349" y="2304642"/>
                </a:cubicBezTo>
                <a:cubicBezTo>
                  <a:pt x="651528" y="2304642"/>
                  <a:pt x="755678" y="2283050"/>
                  <a:pt x="875070" y="2223354"/>
                </a:cubicBezTo>
                <a:lnTo>
                  <a:pt x="4860722" y="258470"/>
                </a:lnTo>
                <a:lnTo>
                  <a:pt x="4860722" y="216556"/>
                </a:lnTo>
                <a:lnTo>
                  <a:pt x="858558" y="2189061"/>
                </a:lnTo>
                <a:cubicBezTo>
                  <a:pt x="643907" y="2294481"/>
                  <a:pt x="454659" y="2293211"/>
                  <a:pt x="293353" y="2182710"/>
                </a:cubicBezTo>
                <a:cubicBezTo>
                  <a:pt x="172691" y="2100152"/>
                  <a:pt x="114265" y="1984570"/>
                  <a:pt x="114265" y="1983300"/>
                </a:cubicBezTo>
                <a:lnTo>
                  <a:pt x="105374" y="1965519"/>
                </a:lnTo>
                <a:cubicBezTo>
                  <a:pt x="11385" y="1775000"/>
                  <a:pt x="30437" y="1597182"/>
                  <a:pt x="163800" y="1437147"/>
                </a:cubicBezTo>
                <a:cubicBezTo>
                  <a:pt x="264140" y="1315215"/>
                  <a:pt x="394963" y="1250438"/>
                  <a:pt x="396233" y="1249168"/>
                </a:cubicBezTo>
                <a:lnTo>
                  <a:pt x="396233" y="1249168"/>
                </a:lnTo>
                <a:lnTo>
                  <a:pt x="2911080" y="9526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5525C01-736F-4E07-B20A-72ABE0F38C9F}"/>
              </a:ext>
            </a:extLst>
          </p:cNvPr>
          <p:cNvSpPr/>
          <p:nvPr/>
        </p:nvSpPr>
        <p:spPr>
          <a:xfrm>
            <a:off x="9766949" y="442639"/>
            <a:ext cx="2425939" cy="2603756"/>
          </a:xfrm>
          <a:custGeom>
            <a:avLst/>
            <a:gdLst>
              <a:gd name="connsiteX0" fmla="*/ 2423711 w 2425938"/>
              <a:gd name="connsiteY0" fmla="*/ 1877880 h 2603756"/>
              <a:gd name="connsiteX1" fmla="*/ 1236144 w 2425938"/>
              <a:gd name="connsiteY1" fmla="*/ 2463408 h 2603756"/>
              <a:gd name="connsiteX2" fmla="*/ 429615 w 2425938"/>
              <a:gd name="connsiteY2" fmla="*/ 2415143 h 2603756"/>
              <a:gd name="connsiteX3" fmla="*/ 160348 w 2425938"/>
              <a:gd name="connsiteY3" fmla="*/ 2097612 h 2603756"/>
              <a:gd name="connsiteX4" fmla="*/ 146377 w 2425938"/>
              <a:gd name="connsiteY4" fmla="*/ 2069669 h 2603756"/>
              <a:gd name="connsiteX5" fmla="*/ 194642 w 2425938"/>
              <a:gd name="connsiteY5" fmla="*/ 1263139 h 2603756"/>
              <a:gd name="connsiteX6" fmla="*/ 512173 w 2425938"/>
              <a:gd name="connsiteY6" fmla="*/ 993873 h 2603756"/>
              <a:gd name="connsiteX7" fmla="*/ 2423711 w 2425938"/>
              <a:gd name="connsiteY7" fmla="*/ 51440 h 2603756"/>
              <a:gd name="connsiteX8" fmla="*/ 2423711 w 2425938"/>
              <a:gd name="connsiteY8" fmla="*/ 9526 h 2603756"/>
              <a:gd name="connsiteX9" fmla="*/ 494391 w 2425938"/>
              <a:gd name="connsiteY9" fmla="*/ 960850 h 2603756"/>
              <a:gd name="connsiteX10" fmla="*/ 164159 w 2425938"/>
              <a:gd name="connsiteY10" fmla="*/ 1240277 h 2603756"/>
              <a:gd name="connsiteX11" fmla="*/ 112083 w 2425938"/>
              <a:gd name="connsiteY11" fmla="*/ 2088721 h 2603756"/>
              <a:gd name="connsiteX12" fmla="*/ 126055 w 2425938"/>
              <a:gd name="connsiteY12" fmla="*/ 2116664 h 2603756"/>
              <a:gd name="connsiteX13" fmla="*/ 405483 w 2425938"/>
              <a:gd name="connsiteY13" fmla="*/ 2446896 h 2603756"/>
              <a:gd name="connsiteX14" fmla="*/ 851296 w 2425938"/>
              <a:gd name="connsiteY14" fmla="*/ 2601851 h 2603756"/>
              <a:gd name="connsiteX15" fmla="*/ 1252656 w 2425938"/>
              <a:gd name="connsiteY15" fmla="*/ 2498971 h 2603756"/>
              <a:gd name="connsiteX16" fmla="*/ 2422441 w 2425938"/>
              <a:gd name="connsiteY16" fmla="*/ 1922334 h 2603756"/>
              <a:gd name="connsiteX17" fmla="*/ 2422441 w 2425938"/>
              <a:gd name="connsiteY17" fmla="*/ 1877880 h 2603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425938" h="2603756">
                <a:moveTo>
                  <a:pt x="2423711" y="1877880"/>
                </a:moveTo>
                <a:lnTo>
                  <a:pt x="1236144" y="2463408"/>
                </a:lnTo>
                <a:cubicBezTo>
                  <a:pt x="937665" y="2610742"/>
                  <a:pt x="665858" y="2594231"/>
                  <a:pt x="429615" y="2415143"/>
                </a:cubicBezTo>
                <a:cubicBezTo>
                  <a:pt x="251797" y="2280510"/>
                  <a:pt x="160348" y="2098882"/>
                  <a:pt x="160348" y="2097612"/>
                </a:cubicBezTo>
                <a:lnTo>
                  <a:pt x="146377" y="2069669"/>
                </a:lnTo>
                <a:cubicBezTo>
                  <a:pt x="-957" y="1771190"/>
                  <a:pt x="15554" y="1499383"/>
                  <a:pt x="194642" y="1263139"/>
                </a:cubicBezTo>
                <a:cubicBezTo>
                  <a:pt x="329275" y="1085322"/>
                  <a:pt x="509632" y="995143"/>
                  <a:pt x="512173" y="993873"/>
                </a:cubicBezTo>
                <a:lnTo>
                  <a:pt x="2423711" y="51440"/>
                </a:lnTo>
                <a:lnTo>
                  <a:pt x="2423711" y="9526"/>
                </a:lnTo>
                <a:lnTo>
                  <a:pt x="494391" y="960850"/>
                </a:lnTo>
                <a:cubicBezTo>
                  <a:pt x="486770" y="964660"/>
                  <a:pt x="303873" y="1056109"/>
                  <a:pt x="164159" y="1240277"/>
                </a:cubicBezTo>
                <a:cubicBezTo>
                  <a:pt x="34606" y="1411744"/>
                  <a:pt x="-80976" y="1697522"/>
                  <a:pt x="112083" y="2088721"/>
                </a:cubicBezTo>
                <a:lnTo>
                  <a:pt x="126055" y="2116664"/>
                </a:lnTo>
                <a:cubicBezTo>
                  <a:pt x="129865" y="2124284"/>
                  <a:pt x="221315" y="2307182"/>
                  <a:pt x="405483" y="2446896"/>
                </a:cubicBezTo>
                <a:cubicBezTo>
                  <a:pt x="510903" y="2526914"/>
                  <a:pt x="660778" y="2601851"/>
                  <a:pt x="851296" y="2601851"/>
                </a:cubicBezTo>
                <a:cubicBezTo>
                  <a:pt x="969418" y="2601851"/>
                  <a:pt x="1104052" y="2572638"/>
                  <a:pt x="1252656" y="2498971"/>
                </a:cubicBezTo>
                <a:lnTo>
                  <a:pt x="2422441" y="1922334"/>
                </a:lnTo>
                <a:lnTo>
                  <a:pt x="2422441" y="187788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49472789-B79C-464F-9D88-E51F8B5062D3}"/>
              </a:ext>
            </a:extLst>
          </p:cNvPr>
          <p:cNvSpPr/>
          <p:nvPr userDrawn="1"/>
        </p:nvSpPr>
        <p:spPr>
          <a:xfrm>
            <a:off x="-9526" y="2340318"/>
            <a:ext cx="2870483" cy="2540250"/>
          </a:xfrm>
          <a:custGeom>
            <a:avLst/>
            <a:gdLst>
              <a:gd name="connsiteX0" fmla="*/ 2481189 w 2870482"/>
              <a:gd name="connsiteY0" fmla="*/ 1064887 h 2540250"/>
              <a:gd name="connsiteX1" fmla="*/ 1678470 w 2870482"/>
              <a:gd name="connsiteY1" fmla="*/ 1461166 h 2540250"/>
              <a:gd name="connsiteX2" fmla="*/ 1406664 w 2870482"/>
              <a:gd name="connsiteY2" fmla="*/ 1448465 h 2540250"/>
              <a:gd name="connsiteX3" fmla="*/ 9526 w 2870482"/>
              <a:gd name="connsiteY3" fmla="*/ 2136873 h 2540250"/>
              <a:gd name="connsiteX4" fmla="*/ 9526 w 2870482"/>
              <a:gd name="connsiteY4" fmla="*/ 2531882 h 2540250"/>
              <a:gd name="connsiteX5" fmla="*/ 1564159 w 2870482"/>
              <a:gd name="connsiteY5" fmla="*/ 1765996 h 2540250"/>
              <a:gd name="connsiteX6" fmla="*/ 1708953 w 2870482"/>
              <a:gd name="connsiteY6" fmla="*/ 1500540 h 2540250"/>
              <a:gd name="connsiteX7" fmla="*/ 1706413 w 2870482"/>
              <a:gd name="connsiteY7" fmla="*/ 1494189 h 2540250"/>
              <a:gd name="connsiteX8" fmla="*/ 1703873 w 2870482"/>
              <a:gd name="connsiteY8" fmla="*/ 1490379 h 2540250"/>
              <a:gd name="connsiteX9" fmla="*/ 2498971 w 2870482"/>
              <a:gd name="connsiteY9" fmla="*/ 1097910 h 2540250"/>
              <a:gd name="connsiteX10" fmla="*/ 2806341 w 2870482"/>
              <a:gd name="connsiteY10" fmla="*/ 330755 h 2540250"/>
              <a:gd name="connsiteX11" fmla="*/ 2797450 w 2870482"/>
              <a:gd name="connsiteY11" fmla="*/ 312973 h 2540250"/>
              <a:gd name="connsiteX12" fmla="*/ 2002352 w 2870482"/>
              <a:gd name="connsiteY12" fmla="*/ 90701 h 2540250"/>
              <a:gd name="connsiteX13" fmla="*/ 9526 w 2870482"/>
              <a:gd name="connsiteY13" fmla="*/ 1073778 h 2540250"/>
              <a:gd name="connsiteX14" fmla="*/ 9526 w 2870482"/>
              <a:gd name="connsiteY14" fmla="*/ 1115692 h 2540250"/>
              <a:gd name="connsiteX15" fmla="*/ 2017594 w 2870482"/>
              <a:gd name="connsiteY15" fmla="*/ 124994 h 2540250"/>
              <a:gd name="connsiteX16" fmla="*/ 2582799 w 2870482"/>
              <a:gd name="connsiteY16" fmla="*/ 131345 h 2540250"/>
              <a:gd name="connsiteX17" fmla="*/ 2761887 w 2870482"/>
              <a:gd name="connsiteY17" fmla="*/ 330755 h 2540250"/>
              <a:gd name="connsiteX18" fmla="*/ 2770778 w 2870482"/>
              <a:gd name="connsiteY18" fmla="*/ 348536 h 2540250"/>
              <a:gd name="connsiteX19" fmla="*/ 2712352 w 2870482"/>
              <a:gd name="connsiteY19" fmla="*/ 876908 h 2540250"/>
              <a:gd name="connsiteX20" fmla="*/ 2481189 w 2870482"/>
              <a:gd name="connsiteY20" fmla="*/ 1064887 h 2540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70482" h="2540250">
                <a:moveTo>
                  <a:pt x="2481189" y="1064887"/>
                </a:moveTo>
                <a:lnTo>
                  <a:pt x="1678470" y="1461166"/>
                </a:lnTo>
                <a:cubicBezTo>
                  <a:pt x="1640366" y="1423062"/>
                  <a:pt x="1556538" y="1374797"/>
                  <a:pt x="1406664" y="1448465"/>
                </a:cubicBezTo>
                <a:lnTo>
                  <a:pt x="9526" y="2136873"/>
                </a:lnTo>
                <a:lnTo>
                  <a:pt x="9526" y="2531882"/>
                </a:lnTo>
                <a:lnTo>
                  <a:pt x="1564159" y="1765996"/>
                </a:lnTo>
                <a:cubicBezTo>
                  <a:pt x="1564159" y="1765996"/>
                  <a:pt x="1785161" y="1656765"/>
                  <a:pt x="1708953" y="1500540"/>
                </a:cubicBezTo>
                <a:lnTo>
                  <a:pt x="1706413" y="1494189"/>
                </a:lnTo>
                <a:cubicBezTo>
                  <a:pt x="1706413" y="1494189"/>
                  <a:pt x="1705143" y="1492919"/>
                  <a:pt x="1703873" y="1490379"/>
                </a:cubicBezTo>
                <a:lnTo>
                  <a:pt x="2498971" y="1097910"/>
                </a:lnTo>
                <a:cubicBezTo>
                  <a:pt x="2504051" y="1095370"/>
                  <a:pt x="3047665" y="819753"/>
                  <a:pt x="2806341" y="330755"/>
                </a:cubicBezTo>
                <a:lnTo>
                  <a:pt x="2797450" y="312973"/>
                </a:lnTo>
                <a:cubicBezTo>
                  <a:pt x="2794910" y="307892"/>
                  <a:pt x="2547236" y="-178566"/>
                  <a:pt x="2002352" y="90701"/>
                </a:cubicBezTo>
                <a:lnTo>
                  <a:pt x="9526" y="1073778"/>
                </a:lnTo>
                <a:lnTo>
                  <a:pt x="9526" y="1115692"/>
                </a:lnTo>
                <a:lnTo>
                  <a:pt x="2017594" y="124994"/>
                </a:lnTo>
                <a:cubicBezTo>
                  <a:pt x="2232245" y="19574"/>
                  <a:pt x="2421493" y="20844"/>
                  <a:pt x="2582799" y="131345"/>
                </a:cubicBezTo>
                <a:cubicBezTo>
                  <a:pt x="2703461" y="213903"/>
                  <a:pt x="2761887" y="329484"/>
                  <a:pt x="2761887" y="330755"/>
                </a:cubicBezTo>
                <a:lnTo>
                  <a:pt x="2770778" y="348536"/>
                </a:lnTo>
                <a:cubicBezTo>
                  <a:pt x="2864767" y="539055"/>
                  <a:pt x="2845715" y="716873"/>
                  <a:pt x="2712352" y="876908"/>
                </a:cubicBezTo>
                <a:cubicBezTo>
                  <a:pt x="2613282" y="998840"/>
                  <a:pt x="2482459" y="1063617"/>
                  <a:pt x="2481189" y="1064887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39851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>
            <a:extLst>
              <a:ext uri="{FF2B5EF4-FFF2-40B4-BE49-F238E27FC236}">
                <a16:creationId xmlns:a16="http://schemas.microsoft.com/office/drawing/2014/main" id="{DD823940-1850-4484-BDCE-3D9B898D6787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Graphic 12">
            <a:extLst>
              <a:ext uri="{FF2B5EF4-FFF2-40B4-BE49-F238E27FC236}">
                <a16:creationId xmlns:a16="http://schemas.microsoft.com/office/drawing/2014/main" id="{6FFA8582-48C8-4154-ACF0-5F6412FAAE0C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FBCC61A6-FEB7-4CD2-9686-FB5F1EB66A10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911225" y="908050"/>
            <a:ext cx="10369550" cy="466090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ko-KR"/>
              <a:t>Click icon to add media</a:t>
            </a:r>
            <a:endParaRPr lang="ru-R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208BCD-3B7E-49DF-8BF5-68AE9DD7D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238811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517C1-CBB7-46B0-99AA-851210402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8EAB5B0-43C3-4F9F-98FF-253CBE6C9668}"/>
              </a:ext>
            </a:extLst>
          </p:cNvPr>
          <p:cNvSpPr/>
          <p:nvPr/>
        </p:nvSpPr>
        <p:spPr>
          <a:xfrm>
            <a:off x="8807428" y="2003790"/>
            <a:ext cx="775201" cy="774776"/>
          </a:xfrm>
          <a:custGeom>
            <a:avLst/>
            <a:gdLst>
              <a:gd name="connsiteX0" fmla="*/ 388023 w 774776"/>
              <a:gd name="connsiteY0" fmla="*/ 766520 h 774776"/>
              <a:gd name="connsiteX1" fmla="*/ 9526 w 774776"/>
              <a:gd name="connsiteY1" fmla="*/ 388023 h 774776"/>
              <a:gd name="connsiteX2" fmla="*/ 388023 w 774776"/>
              <a:gd name="connsiteY2" fmla="*/ 9526 h 774776"/>
              <a:gd name="connsiteX3" fmla="*/ 766521 w 774776"/>
              <a:gd name="connsiteY3" fmla="*/ 388023 h 774776"/>
              <a:gd name="connsiteX4" fmla="*/ 388023 w 774776"/>
              <a:gd name="connsiteY4" fmla="*/ 766520 h 774776"/>
              <a:gd name="connsiteX5" fmla="*/ 388023 w 774776"/>
              <a:gd name="connsiteY5" fmla="*/ 48900 h 774776"/>
              <a:gd name="connsiteX6" fmla="*/ 47630 w 774776"/>
              <a:gd name="connsiteY6" fmla="*/ 389293 h 774776"/>
              <a:gd name="connsiteX7" fmla="*/ 388023 w 774776"/>
              <a:gd name="connsiteY7" fmla="*/ 729687 h 774776"/>
              <a:gd name="connsiteX8" fmla="*/ 728417 w 774776"/>
              <a:gd name="connsiteY8" fmla="*/ 389293 h 774776"/>
              <a:gd name="connsiteX9" fmla="*/ 388023 w 774776"/>
              <a:gd name="connsiteY9" fmla="*/ 48900 h 774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4776" h="774776">
                <a:moveTo>
                  <a:pt x="388023" y="766520"/>
                </a:moveTo>
                <a:cubicBezTo>
                  <a:pt x="179723" y="766520"/>
                  <a:pt x="9526" y="596324"/>
                  <a:pt x="9526" y="388023"/>
                </a:cubicBezTo>
                <a:cubicBezTo>
                  <a:pt x="9526" y="179723"/>
                  <a:pt x="179723" y="9526"/>
                  <a:pt x="388023" y="9526"/>
                </a:cubicBezTo>
                <a:cubicBezTo>
                  <a:pt x="596324" y="9526"/>
                  <a:pt x="766521" y="179723"/>
                  <a:pt x="766521" y="388023"/>
                </a:cubicBezTo>
                <a:cubicBezTo>
                  <a:pt x="766521" y="596324"/>
                  <a:pt x="596324" y="766520"/>
                  <a:pt x="388023" y="766520"/>
                </a:cubicBezTo>
                <a:close/>
                <a:moveTo>
                  <a:pt x="388023" y="48900"/>
                </a:moveTo>
                <a:cubicBezTo>
                  <a:pt x="200045" y="48900"/>
                  <a:pt x="47630" y="201315"/>
                  <a:pt x="47630" y="389293"/>
                </a:cubicBezTo>
                <a:cubicBezTo>
                  <a:pt x="47630" y="577272"/>
                  <a:pt x="200045" y="729687"/>
                  <a:pt x="388023" y="729687"/>
                </a:cubicBezTo>
                <a:cubicBezTo>
                  <a:pt x="576002" y="729687"/>
                  <a:pt x="728417" y="577272"/>
                  <a:pt x="728417" y="389293"/>
                </a:cubicBezTo>
                <a:cubicBezTo>
                  <a:pt x="728417" y="201315"/>
                  <a:pt x="576002" y="48900"/>
                  <a:pt x="388023" y="4890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6A97B71-3A84-4844-BDB5-E3F77302BBC0}"/>
              </a:ext>
            </a:extLst>
          </p:cNvPr>
          <p:cNvSpPr/>
          <p:nvPr userDrawn="1"/>
        </p:nvSpPr>
        <p:spPr>
          <a:xfrm>
            <a:off x="9780046" y="430740"/>
            <a:ext cx="2414562" cy="2578354"/>
          </a:xfrm>
          <a:custGeom>
            <a:avLst/>
            <a:gdLst>
              <a:gd name="connsiteX0" fmla="*/ 2412164 w 2413237"/>
              <a:gd name="connsiteY0" fmla="*/ 12701 h 2578354"/>
              <a:gd name="connsiteX1" fmla="*/ 487924 w 2413237"/>
              <a:gd name="connsiteY1" fmla="*/ 962755 h 2578354"/>
              <a:gd name="connsiteX2" fmla="*/ 113238 w 2413237"/>
              <a:gd name="connsiteY2" fmla="*/ 2065224 h 2578354"/>
              <a:gd name="connsiteX3" fmla="*/ 127209 w 2413237"/>
              <a:gd name="connsiteY3" fmla="*/ 2093166 h 2578354"/>
              <a:gd name="connsiteX4" fmla="*/ 1229678 w 2413237"/>
              <a:gd name="connsiteY4" fmla="*/ 2467853 h 2578354"/>
              <a:gd name="connsiteX5" fmla="*/ 2412164 w 2413237"/>
              <a:gd name="connsiteY5" fmla="*/ 1884866 h 2578354"/>
              <a:gd name="connsiteX6" fmla="*/ 2412164 w 2413237"/>
              <a:gd name="connsiteY6" fmla="*/ 12701 h 2578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13237" h="2578354">
                <a:moveTo>
                  <a:pt x="2412164" y="12701"/>
                </a:moveTo>
                <a:lnTo>
                  <a:pt x="487924" y="962755"/>
                </a:lnTo>
                <a:cubicBezTo>
                  <a:pt x="487924" y="962755"/>
                  <a:pt x="-250018" y="1327281"/>
                  <a:pt x="113238" y="2065224"/>
                </a:cubicBezTo>
                <a:lnTo>
                  <a:pt x="127209" y="2093166"/>
                </a:lnTo>
                <a:cubicBezTo>
                  <a:pt x="127209" y="2093166"/>
                  <a:pt x="491735" y="2831109"/>
                  <a:pt x="1229678" y="2467853"/>
                </a:cubicBezTo>
                <a:lnTo>
                  <a:pt x="2412164" y="1884866"/>
                </a:lnTo>
                <a:lnTo>
                  <a:pt x="2412164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30939C4-65C9-4508-8EFE-F715B9946844}"/>
              </a:ext>
            </a:extLst>
          </p:cNvPr>
          <p:cNvSpPr/>
          <p:nvPr/>
        </p:nvSpPr>
        <p:spPr>
          <a:xfrm>
            <a:off x="9762774" y="410418"/>
            <a:ext cx="2439977" cy="2616458"/>
          </a:xfrm>
          <a:custGeom>
            <a:avLst/>
            <a:gdLst>
              <a:gd name="connsiteX0" fmla="*/ 2429427 w 2438640"/>
              <a:gd name="connsiteY0" fmla="*/ 1882326 h 2616457"/>
              <a:gd name="connsiteX1" fmla="*/ 1238050 w 2438640"/>
              <a:gd name="connsiteY1" fmla="*/ 2469123 h 2616457"/>
              <a:gd name="connsiteX2" fmla="*/ 431520 w 2438640"/>
              <a:gd name="connsiteY2" fmla="*/ 2420859 h 2616457"/>
              <a:gd name="connsiteX3" fmla="*/ 162253 w 2438640"/>
              <a:gd name="connsiteY3" fmla="*/ 2103327 h 2616457"/>
              <a:gd name="connsiteX4" fmla="*/ 148282 w 2438640"/>
              <a:gd name="connsiteY4" fmla="*/ 2075385 h 2616457"/>
              <a:gd name="connsiteX5" fmla="*/ 196547 w 2438640"/>
              <a:gd name="connsiteY5" fmla="*/ 1268855 h 2616457"/>
              <a:gd name="connsiteX6" fmla="*/ 514078 w 2438640"/>
              <a:gd name="connsiteY6" fmla="*/ 999589 h 2616457"/>
              <a:gd name="connsiteX7" fmla="*/ 2430697 w 2438640"/>
              <a:gd name="connsiteY7" fmla="*/ 54615 h 2616457"/>
              <a:gd name="connsiteX8" fmla="*/ 2430697 w 2438640"/>
              <a:gd name="connsiteY8" fmla="*/ 12701 h 2616457"/>
              <a:gd name="connsiteX9" fmla="*/ 497567 w 2438640"/>
              <a:gd name="connsiteY9" fmla="*/ 965295 h 2616457"/>
              <a:gd name="connsiteX10" fmla="*/ 167334 w 2438640"/>
              <a:gd name="connsiteY10" fmla="*/ 1244723 h 2616457"/>
              <a:gd name="connsiteX11" fmla="*/ 115259 w 2438640"/>
              <a:gd name="connsiteY11" fmla="*/ 2093166 h 2616457"/>
              <a:gd name="connsiteX12" fmla="*/ 129231 w 2438640"/>
              <a:gd name="connsiteY12" fmla="*/ 2121109 h 2616457"/>
              <a:gd name="connsiteX13" fmla="*/ 408658 w 2438640"/>
              <a:gd name="connsiteY13" fmla="*/ 2451342 h 2616457"/>
              <a:gd name="connsiteX14" fmla="*/ 854472 w 2438640"/>
              <a:gd name="connsiteY14" fmla="*/ 2606297 h 2616457"/>
              <a:gd name="connsiteX15" fmla="*/ 1255831 w 2438640"/>
              <a:gd name="connsiteY15" fmla="*/ 2503417 h 2616457"/>
              <a:gd name="connsiteX16" fmla="*/ 2429427 w 2438640"/>
              <a:gd name="connsiteY16" fmla="*/ 1924240 h 2616457"/>
              <a:gd name="connsiteX17" fmla="*/ 2429427 w 2438640"/>
              <a:gd name="connsiteY17" fmla="*/ 1882326 h 2616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438640" h="2616457">
                <a:moveTo>
                  <a:pt x="2429427" y="1882326"/>
                </a:moveTo>
                <a:lnTo>
                  <a:pt x="1238050" y="2469123"/>
                </a:lnTo>
                <a:cubicBezTo>
                  <a:pt x="939570" y="2616458"/>
                  <a:pt x="667763" y="2599946"/>
                  <a:pt x="431520" y="2420859"/>
                </a:cubicBezTo>
                <a:cubicBezTo>
                  <a:pt x="253703" y="2286225"/>
                  <a:pt x="162253" y="2104598"/>
                  <a:pt x="162253" y="2103327"/>
                </a:cubicBezTo>
                <a:lnTo>
                  <a:pt x="148282" y="2075385"/>
                </a:lnTo>
                <a:cubicBezTo>
                  <a:pt x="947" y="1776905"/>
                  <a:pt x="17459" y="1505098"/>
                  <a:pt x="196547" y="1268855"/>
                </a:cubicBezTo>
                <a:cubicBezTo>
                  <a:pt x="331180" y="1091038"/>
                  <a:pt x="511538" y="1000859"/>
                  <a:pt x="514078" y="999589"/>
                </a:cubicBezTo>
                <a:lnTo>
                  <a:pt x="2430697" y="54615"/>
                </a:lnTo>
                <a:lnTo>
                  <a:pt x="2430697" y="12701"/>
                </a:lnTo>
                <a:lnTo>
                  <a:pt x="497567" y="965295"/>
                </a:lnTo>
                <a:cubicBezTo>
                  <a:pt x="489946" y="969106"/>
                  <a:pt x="307048" y="1060555"/>
                  <a:pt x="167334" y="1244723"/>
                </a:cubicBezTo>
                <a:cubicBezTo>
                  <a:pt x="37781" y="1416190"/>
                  <a:pt x="-77800" y="1701968"/>
                  <a:pt x="115259" y="2093166"/>
                </a:cubicBezTo>
                <a:lnTo>
                  <a:pt x="129231" y="2121109"/>
                </a:lnTo>
                <a:cubicBezTo>
                  <a:pt x="133041" y="2128730"/>
                  <a:pt x="224490" y="2311628"/>
                  <a:pt x="408658" y="2451342"/>
                </a:cubicBezTo>
                <a:cubicBezTo>
                  <a:pt x="514078" y="2531359"/>
                  <a:pt x="663953" y="2606297"/>
                  <a:pt x="854472" y="2606297"/>
                </a:cubicBezTo>
                <a:cubicBezTo>
                  <a:pt x="972593" y="2606297"/>
                  <a:pt x="1107227" y="2577084"/>
                  <a:pt x="1255831" y="2503417"/>
                </a:cubicBezTo>
                <a:lnTo>
                  <a:pt x="2429427" y="1924240"/>
                </a:lnTo>
                <a:lnTo>
                  <a:pt x="2429427" y="1882326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59BB951-621D-4456-A832-116187764B2E}"/>
              </a:ext>
            </a:extLst>
          </p:cNvPr>
          <p:cNvSpPr/>
          <p:nvPr userDrawn="1"/>
        </p:nvSpPr>
        <p:spPr>
          <a:xfrm>
            <a:off x="7340981" y="-16344"/>
            <a:ext cx="4854539" cy="2273524"/>
          </a:xfrm>
          <a:custGeom>
            <a:avLst/>
            <a:gdLst>
              <a:gd name="connsiteX0" fmla="*/ 4849891 w 4851877"/>
              <a:gd name="connsiteY0" fmla="*/ 12701 h 2273523"/>
              <a:gd name="connsiteX1" fmla="*/ 2808800 w 4851877"/>
              <a:gd name="connsiteY1" fmla="*/ 12701 h 2273523"/>
              <a:gd name="connsiteX2" fmla="*/ 371430 w 4851877"/>
              <a:gd name="connsiteY2" fmla="*/ 1214240 h 2273523"/>
              <a:gd name="connsiteX3" fmla="*/ 72951 w 4851877"/>
              <a:gd name="connsiteY3" fmla="*/ 1955993 h 2273523"/>
              <a:gd name="connsiteX4" fmla="*/ 81841 w 4851877"/>
              <a:gd name="connsiteY4" fmla="*/ 1973774 h 2273523"/>
              <a:gd name="connsiteX5" fmla="*/ 851538 w 4851877"/>
              <a:gd name="connsiteY5" fmla="*/ 2188426 h 2273523"/>
              <a:gd name="connsiteX6" fmla="*/ 4849891 w 4851877"/>
              <a:gd name="connsiteY6" fmla="*/ 217191 h 2273523"/>
              <a:gd name="connsiteX7" fmla="*/ 4849891 w 4851877"/>
              <a:gd name="connsiteY7" fmla="*/ 12701 h 2273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51877" h="2273523">
                <a:moveTo>
                  <a:pt x="4849891" y="12701"/>
                </a:moveTo>
                <a:lnTo>
                  <a:pt x="2808800" y="12701"/>
                </a:lnTo>
                <a:lnTo>
                  <a:pt x="371430" y="1214240"/>
                </a:lnTo>
                <a:cubicBezTo>
                  <a:pt x="371430" y="1214240"/>
                  <a:pt x="-163293" y="1478426"/>
                  <a:pt x="72951" y="1955993"/>
                </a:cubicBezTo>
                <a:lnTo>
                  <a:pt x="81841" y="1973774"/>
                </a:lnTo>
                <a:cubicBezTo>
                  <a:pt x="81841" y="1973774"/>
                  <a:pt x="316814" y="2451342"/>
                  <a:pt x="851538" y="2188426"/>
                </a:cubicBezTo>
                <a:lnTo>
                  <a:pt x="4849891" y="217191"/>
                </a:lnTo>
                <a:lnTo>
                  <a:pt x="4849891" y="1270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F8008CE-2F0A-4568-9C4A-C347A4880513}"/>
              </a:ext>
            </a:extLst>
          </p:cNvPr>
          <p:cNvSpPr/>
          <p:nvPr userDrawn="1"/>
        </p:nvSpPr>
        <p:spPr>
          <a:xfrm>
            <a:off x="7327556" y="-16344"/>
            <a:ext cx="4867247" cy="2298926"/>
          </a:xfrm>
          <a:custGeom>
            <a:avLst/>
            <a:gdLst>
              <a:gd name="connsiteX0" fmla="*/ 4863309 w 4864578"/>
              <a:gd name="connsiteY0" fmla="*/ 195599 h 2298926"/>
              <a:gd name="connsiteX1" fmla="*/ 857334 w 4864578"/>
              <a:gd name="connsiteY1" fmla="*/ 2170644 h 2298926"/>
              <a:gd name="connsiteX2" fmla="*/ 292129 w 4864578"/>
              <a:gd name="connsiteY2" fmla="*/ 2164293 h 2298926"/>
              <a:gd name="connsiteX3" fmla="*/ 113041 w 4864578"/>
              <a:gd name="connsiteY3" fmla="*/ 1964884 h 2298926"/>
              <a:gd name="connsiteX4" fmla="*/ 104150 w 4864578"/>
              <a:gd name="connsiteY4" fmla="*/ 1947102 h 2298926"/>
              <a:gd name="connsiteX5" fmla="*/ 162577 w 4864578"/>
              <a:gd name="connsiteY5" fmla="*/ 1418730 h 2298926"/>
              <a:gd name="connsiteX6" fmla="*/ 395009 w 4864578"/>
              <a:gd name="connsiteY6" fmla="*/ 1230751 h 2298926"/>
              <a:gd name="connsiteX7" fmla="*/ 395009 w 4864578"/>
              <a:gd name="connsiteY7" fmla="*/ 1230751 h 2298926"/>
              <a:gd name="connsiteX8" fmla="*/ 2865403 w 4864578"/>
              <a:gd name="connsiteY8" fmla="*/ 12701 h 2298926"/>
              <a:gd name="connsiteX9" fmla="*/ 2779034 w 4864578"/>
              <a:gd name="connsiteY9" fmla="*/ 12701 h 2298926"/>
              <a:gd name="connsiteX10" fmla="*/ 377227 w 4864578"/>
              <a:gd name="connsiteY10" fmla="*/ 1197728 h 2298926"/>
              <a:gd name="connsiteX11" fmla="*/ 133363 w 4864578"/>
              <a:gd name="connsiteY11" fmla="*/ 1394597 h 2298926"/>
              <a:gd name="connsiteX12" fmla="*/ 12701 w 4864578"/>
              <a:gd name="connsiteY12" fmla="*/ 1660054 h 2298926"/>
              <a:gd name="connsiteX13" fmla="*/ 12701 w 4864578"/>
              <a:gd name="connsiteY13" fmla="*/ 1780715 h 2298926"/>
              <a:gd name="connsiteX14" fmla="*/ 69857 w 4864578"/>
              <a:gd name="connsiteY14" fmla="*/ 1964884 h 2298926"/>
              <a:gd name="connsiteX15" fmla="*/ 78748 w 4864578"/>
              <a:gd name="connsiteY15" fmla="*/ 1982665 h 2298926"/>
              <a:gd name="connsiteX16" fmla="*/ 269267 w 4864578"/>
              <a:gd name="connsiteY16" fmla="*/ 2196046 h 2298926"/>
              <a:gd name="connsiteX17" fmla="*/ 560126 w 4864578"/>
              <a:gd name="connsiteY17" fmla="*/ 2286225 h 2298926"/>
              <a:gd name="connsiteX18" fmla="*/ 873847 w 4864578"/>
              <a:gd name="connsiteY18" fmla="*/ 2204937 h 2298926"/>
              <a:gd name="connsiteX19" fmla="*/ 4863309 w 4864578"/>
              <a:gd name="connsiteY19" fmla="*/ 237513 h 2298926"/>
              <a:gd name="connsiteX20" fmla="*/ 4863309 w 4864578"/>
              <a:gd name="connsiteY20" fmla="*/ 195599 h 22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64578" h="2298926">
                <a:moveTo>
                  <a:pt x="4863309" y="195599"/>
                </a:moveTo>
                <a:lnTo>
                  <a:pt x="857334" y="2170644"/>
                </a:lnTo>
                <a:cubicBezTo>
                  <a:pt x="642684" y="2276064"/>
                  <a:pt x="453435" y="2274794"/>
                  <a:pt x="292129" y="2164293"/>
                </a:cubicBezTo>
                <a:cubicBezTo>
                  <a:pt x="171467" y="2081735"/>
                  <a:pt x="113041" y="1966154"/>
                  <a:pt x="113041" y="1964884"/>
                </a:cubicBezTo>
                <a:lnTo>
                  <a:pt x="104150" y="1947102"/>
                </a:lnTo>
                <a:cubicBezTo>
                  <a:pt x="10162" y="1756583"/>
                  <a:pt x="29213" y="1578766"/>
                  <a:pt x="162577" y="1418730"/>
                </a:cubicBezTo>
                <a:cubicBezTo>
                  <a:pt x="262916" y="1296798"/>
                  <a:pt x="393739" y="1232021"/>
                  <a:pt x="395009" y="1230751"/>
                </a:cubicBezTo>
                <a:lnTo>
                  <a:pt x="395009" y="1230751"/>
                </a:lnTo>
                <a:lnTo>
                  <a:pt x="2865403" y="12701"/>
                </a:lnTo>
                <a:lnTo>
                  <a:pt x="2779034" y="12701"/>
                </a:lnTo>
                <a:lnTo>
                  <a:pt x="377227" y="1197728"/>
                </a:lnTo>
                <a:cubicBezTo>
                  <a:pt x="372147" y="1200268"/>
                  <a:pt x="238784" y="1266315"/>
                  <a:pt x="133363" y="1394597"/>
                </a:cubicBezTo>
                <a:cubicBezTo>
                  <a:pt x="78748" y="1460644"/>
                  <a:pt x="26673" y="1549553"/>
                  <a:pt x="12701" y="1660054"/>
                </a:cubicBezTo>
                <a:lnTo>
                  <a:pt x="12701" y="1780715"/>
                </a:lnTo>
                <a:cubicBezTo>
                  <a:pt x="20322" y="1837871"/>
                  <a:pt x="38104" y="1900107"/>
                  <a:pt x="69857" y="1964884"/>
                </a:cubicBezTo>
                <a:lnTo>
                  <a:pt x="78748" y="1982665"/>
                </a:lnTo>
                <a:cubicBezTo>
                  <a:pt x="81288" y="1987746"/>
                  <a:pt x="140984" y="2107138"/>
                  <a:pt x="269267" y="2196046"/>
                </a:cubicBezTo>
                <a:cubicBezTo>
                  <a:pt x="337854" y="2243041"/>
                  <a:pt x="435654" y="2286225"/>
                  <a:pt x="560126" y="2286225"/>
                </a:cubicBezTo>
                <a:cubicBezTo>
                  <a:pt x="650304" y="2286225"/>
                  <a:pt x="754455" y="2264633"/>
                  <a:pt x="873847" y="2204937"/>
                </a:cubicBezTo>
                <a:lnTo>
                  <a:pt x="4863309" y="237513"/>
                </a:lnTo>
                <a:lnTo>
                  <a:pt x="4863309" y="195599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id="{3A926948-B9C1-4E84-AF0F-40965A132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2986" y="5707145"/>
            <a:ext cx="7366027" cy="85399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altLang="ko-KR"/>
              <a:t>Click to edit Master title style</a:t>
            </a:r>
            <a:endParaRPr lang="ru-RU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23A17C7-5A8B-4D9D-AC8A-2486018F3FB8}"/>
              </a:ext>
            </a:extLst>
          </p:cNvPr>
          <p:cNvGrpSpPr/>
          <p:nvPr userDrawn="1"/>
        </p:nvGrpSpPr>
        <p:grpSpPr>
          <a:xfrm>
            <a:off x="-18799" y="2319272"/>
            <a:ext cx="2884236" cy="2824836"/>
            <a:chOff x="-18799" y="2319272"/>
            <a:chExt cx="2884236" cy="2824836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C42001FF-B76E-4445-BDE5-6BFAD41EBBD4}"/>
                </a:ext>
              </a:extLst>
            </p:cNvPr>
            <p:cNvSpPr/>
            <p:nvPr/>
          </p:nvSpPr>
          <p:spPr>
            <a:xfrm>
              <a:off x="-18799" y="2336694"/>
              <a:ext cx="2871530" cy="2299765"/>
            </a:xfrm>
            <a:custGeom>
              <a:avLst/>
              <a:gdLst>
                <a:gd name="connsiteX0" fmla="*/ 2796565 w 2871529"/>
                <a:gd name="connsiteY0" fmla="*/ 306465 h 2299764"/>
                <a:gd name="connsiteX1" fmla="*/ 2026589 w 2871529"/>
                <a:gd name="connsiteY1" fmla="*/ 91735 h 2299764"/>
                <a:gd name="connsiteX2" fmla="*/ 12706 w 2871529"/>
                <a:gd name="connsiteY2" fmla="*/ 1085336 h 2299764"/>
                <a:gd name="connsiteX3" fmla="*/ 12706 w 2871529"/>
                <a:gd name="connsiteY3" fmla="*/ 2296206 h 2299764"/>
                <a:gd name="connsiteX4" fmla="*/ 2506871 w 2871529"/>
                <a:gd name="connsiteY4" fmla="*/ 1066277 h 2299764"/>
                <a:gd name="connsiteX5" fmla="*/ 2805459 w 2871529"/>
                <a:gd name="connsiteY5" fmla="*/ 324253 h 2299764"/>
                <a:gd name="connsiteX6" fmla="*/ 2796565 w 2871529"/>
                <a:gd name="connsiteY6" fmla="*/ 306465 h 2299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71529" h="2299764">
                  <a:moveTo>
                    <a:pt x="2796565" y="306465"/>
                  </a:moveTo>
                  <a:cubicBezTo>
                    <a:pt x="2796565" y="306465"/>
                    <a:pt x="2561507" y="-171276"/>
                    <a:pt x="2026589" y="91735"/>
                  </a:cubicBezTo>
                  <a:lnTo>
                    <a:pt x="12706" y="1085336"/>
                  </a:lnTo>
                  <a:lnTo>
                    <a:pt x="12706" y="2296206"/>
                  </a:lnTo>
                  <a:lnTo>
                    <a:pt x="2506871" y="1066277"/>
                  </a:lnTo>
                  <a:cubicBezTo>
                    <a:pt x="2506871" y="1066277"/>
                    <a:pt x="3041789" y="801994"/>
                    <a:pt x="2805459" y="324253"/>
                  </a:cubicBezTo>
                  <a:lnTo>
                    <a:pt x="2796565" y="306465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5EB89C3-8B52-4763-9DB2-C51CC8AF377C}"/>
                </a:ext>
              </a:extLst>
            </p:cNvPr>
            <p:cNvSpPr/>
            <p:nvPr/>
          </p:nvSpPr>
          <p:spPr>
            <a:xfrm>
              <a:off x="-18799" y="2319272"/>
              <a:ext cx="2884236" cy="2337882"/>
            </a:xfrm>
            <a:custGeom>
              <a:avLst/>
              <a:gdLst>
                <a:gd name="connsiteX0" fmla="*/ 2871530 w 2884235"/>
                <a:gd name="connsiteY0" fmla="*/ 466193 h 2337882"/>
                <a:gd name="connsiteX1" fmla="*/ 2823248 w 2884235"/>
                <a:gd name="connsiteY1" fmla="*/ 334052 h 2337882"/>
                <a:gd name="connsiteX2" fmla="*/ 2814354 w 2884235"/>
                <a:gd name="connsiteY2" fmla="*/ 316263 h 2337882"/>
                <a:gd name="connsiteX3" fmla="*/ 2018965 w 2884235"/>
                <a:gd name="connsiteY3" fmla="*/ 93910 h 2337882"/>
                <a:gd name="connsiteX4" fmla="*/ 12706 w 2884235"/>
                <a:gd name="connsiteY4" fmla="*/ 1081158 h 2337882"/>
                <a:gd name="connsiteX5" fmla="*/ 12706 w 2884235"/>
                <a:gd name="connsiteY5" fmla="*/ 1123087 h 2337882"/>
                <a:gd name="connsiteX6" fmla="*/ 2035483 w 2884235"/>
                <a:gd name="connsiteY6" fmla="*/ 126946 h 2337882"/>
                <a:gd name="connsiteX7" fmla="*/ 2600895 w 2884235"/>
                <a:gd name="connsiteY7" fmla="*/ 133299 h 2337882"/>
                <a:gd name="connsiteX8" fmla="*/ 2780048 w 2884235"/>
                <a:gd name="connsiteY8" fmla="*/ 332781 h 2337882"/>
                <a:gd name="connsiteX9" fmla="*/ 2788942 w 2884235"/>
                <a:gd name="connsiteY9" fmla="*/ 350569 h 2337882"/>
                <a:gd name="connsiteX10" fmla="*/ 2730495 w 2884235"/>
                <a:gd name="connsiteY10" fmla="*/ 879134 h 2337882"/>
                <a:gd name="connsiteX11" fmla="*/ 2497977 w 2884235"/>
                <a:gd name="connsiteY11" fmla="*/ 1065911 h 2337882"/>
                <a:gd name="connsiteX12" fmla="*/ 12706 w 2884235"/>
                <a:gd name="connsiteY12" fmla="*/ 2292028 h 2337882"/>
                <a:gd name="connsiteX13" fmla="*/ 12706 w 2884235"/>
                <a:gd name="connsiteY13" fmla="*/ 2333958 h 2337882"/>
                <a:gd name="connsiteX14" fmla="*/ 2515765 w 2884235"/>
                <a:gd name="connsiteY14" fmla="*/ 1100216 h 2337882"/>
                <a:gd name="connsiteX15" fmla="*/ 2871530 w 2884235"/>
                <a:gd name="connsiteY15" fmla="*/ 687275 h 2337882"/>
                <a:gd name="connsiteX16" fmla="*/ 2871530 w 2884235"/>
                <a:gd name="connsiteY16" fmla="*/ 466193 h 2337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84235" h="2337882">
                  <a:moveTo>
                    <a:pt x="2871530" y="466193"/>
                  </a:moveTo>
                  <a:cubicBezTo>
                    <a:pt x="2861365" y="424263"/>
                    <a:pt x="2846118" y="379793"/>
                    <a:pt x="2823248" y="334052"/>
                  </a:cubicBezTo>
                  <a:lnTo>
                    <a:pt x="2814354" y="316263"/>
                  </a:lnTo>
                  <a:cubicBezTo>
                    <a:pt x="2811812" y="311181"/>
                    <a:pt x="2564048" y="-175454"/>
                    <a:pt x="2018965" y="93910"/>
                  </a:cubicBezTo>
                  <a:lnTo>
                    <a:pt x="12706" y="1081158"/>
                  </a:lnTo>
                  <a:lnTo>
                    <a:pt x="12706" y="1123087"/>
                  </a:lnTo>
                  <a:lnTo>
                    <a:pt x="2035483" y="126946"/>
                  </a:lnTo>
                  <a:cubicBezTo>
                    <a:pt x="2250212" y="21487"/>
                    <a:pt x="2439530" y="22758"/>
                    <a:pt x="2600895" y="133299"/>
                  </a:cubicBezTo>
                  <a:cubicBezTo>
                    <a:pt x="2721601" y="215887"/>
                    <a:pt x="2780048" y="331511"/>
                    <a:pt x="2780048" y="332781"/>
                  </a:cubicBezTo>
                  <a:lnTo>
                    <a:pt x="2788942" y="350569"/>
                  </a:lnTo>
                  <a:cubicBezTo>
                    <a:pt x="2882965" y="541158"/>
                    <a:pt x="2863906" y="719040"/>
                    <a:pt x="2730495" y="879134"/>
                  </a:cubicBezTo>
                  <a:cubicBezTo>
                    <a:pt x="2630118" y="999840"/>
                    <a:pt x="2500518" y="1065911"/>
                    <a:pt x="2497977" y="1065911"/>
                  </a:cubicBezTo>
                  <a:lnTo>
                    <a:pt x="12706" y="2292028"/>
                  </a:lnTo>
                  <a:lnTo>
                    <a:pt x="12706" y="2333958"/>
                  </a:lnTo>
                  <a:lnTo>
                    <a:pt x="2515765" y="1100216"/>
                  </a:lnTo>
                  <a:cubicBezTo>
                    <a:pt x="2519577" y="1097675"/>
                    <a:pt x="2806730" y="952828"/>
                    <a:pt x="2871530" y="687275"/>
                  </a:cubicBezTo>
                  <a:lnTo>
                    <a:pt x="2871530" y="466193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8F230BC5-B028-4266-A395-BFB56DFDC484}"/>
                </a:ext>
              </a:extLst>
            </p:cNvPr>
            <p:cNvSpPr/>
            <p:nvPr/>
          </p:nvSpPr>
          <p:spPr>
            <a:xfrm>
              <a:off x="-18799" y="3968979"/>
              <a:ext cx="1766118" cy="1156235"/>
            </a:xfrm>
            <a:custGeom>
              <a:avLst/>
              <a:gdLst>
                <a:gd name="connsiteX0" fmla="*/ 1735624 w 1766117"/>
                <a:gd name="connsiteY0" fmla="*/ 98509 h 1156235"/>
                <a:gd name="connsiteX1" fmla="*/ 1437036 w 1766117"/>
                <a:gd name="connsiteY1" fmla="*/ 51497 h 1156235"/>
                <a:gd name="connsiteX2" fmla="*/ 12706 w 1766117"/>
                <a:gd name="connsiteY2" fmla="*/ 754133 h 1156235"/>
                <a:gd name="connsiteX3" fmla="*/ 12706 w 1766117"/>
                <a:gd name="connsiteY3" fmla="*/ 1149286 h 1156235"/>
                <a:gd name="connsiteX4" fmla="*/ 1594589 w 1766117"/>
                <a:gd name="connsiteY4" fmla="*/ 369144 h 1156235"/>
                <a:gd name="connsiteX5" fmla="*/ 1739436 w 1766117"/>
                <a:gd name="connsiteY5" fmla="*/ 103592 h 1156235"/>
                <a:gd name="connsiteX6" fmla="*/ 1735624 w 1766117"/>
                <a:gd name="connsiteY6" fmla="*/ 98509 h 115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6117" h="1156235">
                  <a:moveTo>
                    <a:pt x="1735624" y="98509"/>
                  </a:moveTo>
                  <a:cubicBezTo>
                    <a:pt x="1735624" y="98509"/>
                    <a:pt x="1658118" y="-57773"/>
                    <a:pt x="1437036" y="51497"/>
                  </a:cubicBezTo>
                  <a:lnTo>
                    <a:pt x="12706" y="754133"/>
                  </a:lnTo>
                  <a:lnTo>
                    <a:pt x="12706" y="1149286"/>
                  </a:lnTo>
                  <a:lnTo>
                    <a:pt x="1594589" y="369144"/>
                  </a:lnTo>
                  <a:cubicBezTo>
                    <a:pt x="1594589" y="369144"/>
                    <a:pt x="1815671" y="259874"/>
                    <a:pt x="1739436" y="103592"/>
                  </a:cubicBezTo>
                  <a:lnTo>
                    <a:pt x="1735624" y="98509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A52C234-DC7D-488B-8975-61485991A4A8}"/>
                </a:ext>
              </a:extLst>
            </p:cNvPr>
            <p:cNvSpPr/>
            <p:nvPr/>
          </p:nvSpPr>
          <p:spPr>
            <a:xfrm>
              <a:off x="-18799" y="3949755"/>
              <a:ext cx="1778824" cy="1194353"/>
            </a:xfrm>
            <a:custGeom>
              <a:avLst/>
              <a:gdLst>
                <a:gd name="connsiteX0" fmla="*/ 1753412 w 1778823"/>
                <a:gd name="connsiteY0" fmla="*/ 108839 h 1194352"/>
                <a:gd name="connsiteX1" fmla="*/ 1429412 w 1778823"/>
                <a:gd name="connsiteY1" fmla="*/ 52933 h 1194352"/>
                <a:gd name="connsiteX2" fmla="*/ 12706 w 1778823"/>
                <a:gd name="connsiteY2" fmla="*/ 751757 h 1194352"/>
                <a:gd name="connsiteX3" fmla="*/ 12706 w 1778823"/>
                <a:gd name="connsiteY3" fmla="*/ 793686 h 1194352"/>
                <a:gd name="connsiteX4" fmla="*/ 1445930 w 1778823"/>
                <a:gd name="connsiteY4" fmla="*/ 87239 h 1194352"/>
                <a:gd name="connsiteX5" fmla="*/ 1719106 w 1778823"/>
                <a:gd name="connsiteY5" fmla="*/ 125357 h 1194352"/>
                <a:gd name="connsiteX6" fmla="*/ 1721647 w 1778823"/>
                <a:gd name="connsiteY6" fmla="*/ 131710 h 1194352"/>
                <a:gd name="connsiteX7" fmla="*/ 1585694 w 1778823"/>
                <a:gd name="connsiteY7" fmla="*/ 371851 h 1194352"/>
                <a:gd name="connsiteX8" fmla="*/ 12706 w 1778823"/>
                <a:gd name="connsiteY8" fmla="*/ 1146910 h 1194352"/>
                <a:gd name="connsiteX9" fmla="*/ 12706 w 1778823"/>
                <a:gd name="connsiteY9" fmla="*/ 1188839 h 1194352"/>
                <a:gd name="connsiteX10" fmla="*/ 1603483 w 1778823"/>
                <a:gd name="connsiteY10" fmla="*/ 404886 h 1194352"/>
                <a:gd name="connsiteX11" fmla="*/ 1755953 w 1778823"/>
                <a:gd name="connsiteY11" fmla="*/ 113921 h 1194352"/>
                <a:gd name="connsiteX12" fmla="*/ 1753412 w 1778823"/>
                <a:gd name="connsiteY12" fmla="*/ 108839 h 1194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8823" h="1194352">
                  <a:moveTo>
                    <a:pt x="1753412" y="108839"/>
                  </a:moveTo>
                  <a:cubicBezTo>
                    <a:pt x="1752141" y="107569"/>
                    <a:pt x="1665742" y="-62690"/>
                    <a:pt x="1429412" y="52933"/>
                  </a:cubicBezTo>
                  <a:lnTo>
                    <a:pt x="12706" y="751757"/>
                  </a:lnTo>
                  <a:lnTo>
                    <a:pt x="12706" y="793686"/>
                  </a:lnTo>
                  <a:lnTo>
                    <a:pt x="1445930" y="87239"/>
                  </a:lnTo>
                  <a:cubicBezTo>
                    <a:pt x="1646683" y="-11867"/>
                    <a:pt x="1715294" y="120274"/>
                    <a:pt x="1719106" y="125357"/>
                  </a:cubicBezTo>
                  <a:lnTo>
                    <a:pt x="1721647" y="131710"/>
                  </a:lnTo>
                  <a:cubicBezTo>
                    <a:pt x="1788989" y="268933"/>
                    <a:pt x="1594589" y="366769"/>
                    <a:pt x="1585694" y="371851"/>
                  </a:cubicBezTo>
                  <a:lnTo>
                    <a:pt x="12706" y="1146910"/>
                  </a:lnTo>
                  <a:lnTo>
                    <a:pt x="12706" y="1188839"/>
                  </a:lnTo>
                  <a:lnTo>
                    <a:pt x="1603483" y="404886"/>
                  </a:lnTo>
                  <a:cubicBezTo>
                    <a:pt x="1686071" y="364228"/>
                    <a:pt x="1824565" y="251145"/>
                    <a:pt x="1755953" y="113921"/>
                  </a:cubicBezTo>
                  <a:lnTo>
                    <a:pt x="1753412" y="108839"/>
                  </a:ln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0710050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3C229411-48AD-4A50-B02E-041030F1896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45189" y="1"/>
            <a:ext cx="6943003" cy="5934621"/>
          </a:xfrm>
          <a:custGeom>
            <a:avLst/>
            <a:gdLst>
              <a:gd name="connsiteX0" fmla="*/ 6940462 w 6943003"/>
              <a:gd name="connsiteY0" fmla="*/ 0 h 5934621"/>
              <a:gd name="connsiteX1" fmla="*/ 6943003 w 6943003"/>
              <a:gd name="connsiteY1" fmla="*/ 0 h 5934621"/>
              <a:gd name="connsiteX2" fmla="*/ 6943003 w 6943003"/>
              <a:gd name="connsiteY2" fmla="*/ 3562350 h 5934621"/>
              <a:gd name="connsiteX3" fmla="*/ 2564043 w 6943003"/>
              <a:gd name="connsiteY3" fmla="*/ 5721350 h 5934621"/>
              <a:gd name="connsiteX4" fmla="*/ 233592 w 6943003"/>
              <a:gd name="connsiteY4" fmla="*/ 4930141 h 5934621"/>
              <a:gd name="connsiteX5" fmla="*/ 213272 w 6943003"/>
              <a:gd name="connsiteY5" fmla="*/ 4889500 h 5934621"/>
              <a:gd name="connsiteX6" fmla="*/ 1004482 w 6943003"/>
              <a:gd name="connsiteY6" fmla="*/ 2559050 h 5934621"/>
              <a:gd name="connsiteX7" fmla="*/ 2136693 w 6943003"/>
              <a:gd name="connsiteY7" fmla="*/ 2000704 h 5934621"/>
              <a:gd name="connsiteX8" fmla="*/ 2183042 w 6943003"/>
              <a:gd name="connsiteY8" fmla="*/ 2039620 h 5934621"/>
              <a:gd name="connsiteX9" fmla="*/ 2473872 w 6943003"/>
              <a:gd name="connsiteY9" fmla="*/ 2129790 h 5934621"/>
              <a:gd name="connsiteX10" fmla="*/ 2787562 w 6943003"/>
              <a:gd name="connsiteY10" fmla="*/ 2048510 h 5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43003" h="5934621">
                <a:moveTo>
                  <a:pt x="6940462" y="0"/>
                </a:moveTo>
                <a:lnTo>
                  <a:pt x="6943003" y="0"/>
                </a:lnTo>
                <a:lnTo>
                  <a:pt x="6943003" y="3562350"/>
                </a:lnTo>
                <a:lnTo>
                  <a:pt x="2564043" y="5721350"/>
                </a:lnTo>
                <a:cubicBezTo>
                  <a:pt x="1003212" y="6490971"/>
                  <a:pt x="233592" y="4930141"/>
                  <a:pt x="233592" y="4930141"/>
                </a:cubicBezTo>
                <a:lnTo>
                  <a:pt x="213272" y="4889500"/>
                </a:lnTo>
                <a:cubicBezTo>
                  <a:pt x="-556348" y="3328670"/>
                  <a:pt x="1004482" y="2559050"/>
                  <a:pt x="1004482" y="2559050"/>
                </a:cubicBezTo>
                <a:lnTo>
                  <a:pt x="2136693" y="2000704"/>
                </a:lnTo>
                <a:lnTo>
                  <a:pt x="2183042" y="2039620"/>
                </a:lnTo>
                <a:cubicBezTo>
                  <a:pt x="2251622" y="2086610"/>
                  <a:pt x="2349412" y="2129790"/>
                  <a:pt x="2473872" y="2129790"/>
                </a:cubicBezTo>
                <a:cubicBezTo>
                  <a:pt x="2564042" y="2129790"/>
                  <a:pt x="2668182" y="2108200"/>
                  <a:pt x="2787562" y="204851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altLang="ko-KR"/>
              <a:t>Click icon to add picture</a:t>
            </a:r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AD403-A15F-4A2F-B050-AB874136E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4944" y="453050"/>
            <a:ext cx="10515600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ANK YOU!</a:t>
            </a:r>
            <a:endParaRPr lang="ru-RU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9E3EED1-7BB3-4B75-BCA9-1C1223740B3C}"/>
              </a:ext>
            </a:extLst>
          </p:cNvPr>
          <p:cNvSpPr/>
          <p:nvPr/>
        </p:nvSpPr>
        <p:spPr>
          <a:xfrm>
            <a:off x="8704586" y="5422906"/>
            <a:ext cx="736600" cy="736600"/>
          </a:xfrm>
          <a:custGeom>
            <a:avLst/>
            <a:gdLst>
              <a:gd name="connsiteX0" fmla="*/ 372104 w 736600"/>
              <a:gd name="connsiteY0" fmla="*/ 731514 h 736600"/>
              <a:gd name="connsiteX1" fmla="*/ 731514 w 736600"/>
              <a:gd name="connsiteY1" fmla="*/ 372104 h 736600"/>
              <a:gd name="connsiteX2" fmla="*/ 372104 w 736600"/>
              <a:gd name="connsiteY2" fmla="*/ 12694 h 736600"/>
              <a:gd name="connsiteX3" fmla="*/ 12694 w 736600"/>
              <a:gd name="connsiteY3" fmla="*/ 372104 h 736600"/>
              <a:gd name="connsiteX4" fmla="*/ 372104 w 736600"/>
              <a:gd name="connsiteY4" fmla="*/ 731514 h 73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6600" h="736600">
                <a:moveTo>
                  <a:pt x="372104" y="731514"/>
                </a:moveTo>
                <a:cubicBezTo>
                  <a:pt x="570224" y="731514"/>
                  <a:pt x="731514" y="570224"/>
                  <a:pt x="731514" y="372104"/>
                </a:cubicBezTo>
                <a:cubicBezTo>
                  <a:pt x="731514" y="173984"/>
                  <a:pt x="570224" y="12694"/>
                  <a:pt x="372104" y="12694"/>
                </a:cubicBezTo>
                <a:cubicBezTo>
                  <a:pt x="173984" y="12694"/>
                  <a:pt x="12694" y="173984"/>
                  <a:pt x="12694" y="372104"/>
                </a:cubicBezTo>
                <a:cubicBezTo>
                  <a:pt x="12694" y="570224"/>
                  <a:pt x="173984" y="731514"/>
                  <a:pt x="372104" y="731514"/>
                </a:cubicBezTo>
              </a:path>
            </a:pathLst>
          </a:custGeom>
          <a:solidFill>
            <a:schemeClr val="accent1"/>
          </a:solidFill>
          <a:ln w="1269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9016A5F-A55B-4605-B66C-5C6E2BF4919F}"/>
              </a:ext>
            </a:extLst>
          </p:cNvPr>
          <p:cNvSpPr/>
          <p:nvPr/>
        </p:nvSpPr>
        <p:spPr>
          <a:xfrm>
            <a:off x="9659429" y="3776986"/>
            <a:ext cx="2540000" cy="2628900"/>
          </a:xfrm>
          <a:custGeom>
            <a:avLst/>
            <a:gdLst>
              <a:gd name="connsiteX0" fmla="*/ 2528761 w 2540000"/>
              <a:gd name="connsiteY0" fmla="*/ 12694 h 2628900"/>
              <a:gd name="connsiteX1" fmla="*/ 487871 w 2540000"/>
              <a:gd name="connsiteY1" fmla="*/ 1018534 h 2628900"/>
              <a:gd name="connsiteX2" fmla="*/ 113221 w 2540000"/>
              <a:gd name="connsiteY2" fmla="*/ 2120894 h 2628900"/>
              <a:gd name="connsiteX3" fmla="*/ 127191 w 2540000"/>
              <a:gd name="connsiteY3" fmla="*/ 2148834 h 2628900"/>
              <a:gd name="connsiteX4" fmla="*/ 1229551 w 2540000"/>
              <a:gd name="connsiteY4" fmla="*/ 2523484 h 2628900"/>
              <a:gd name="connsiteX5" fmla="*/ 2528761 w 2540000"/>
              <a:gd name="connsiteY5" fmla="*/ 1883404 h 2628900"/>
              <a:gd name="connsiteX6" fmla="*/ 2528761 w 2540000"/>
              <a:gd name="connsiteY6" fmla="*/ 12694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40000" h="2628900">
                <a:moveTo>
                  <a:pt x="2528761" y="12694"/>
                </a:moveTo>
                <a:lnTo>
                  <a:pt x="487871" y="1018534"/>
                </a:lnTo>
                <a:cubicBezTo>
                  <a:pt x="487871" y="1018534"/>
                  <a:pt x="-249999" y="1383024"/>
                  <a:pt x="113221" y="2120894"/>
                </a:cubicBezTo>
                <a:lnTo>
                  <a:pt x="127191" y="2148834"/>
                </a:lnTo>
                <a:cubicBezTo>
                  <a:pt x="127191" y="2148834"/>
                  <a:pt x="491681" y="2886705"/>
                  <a:pt x="1229551" y="2523484"/>
                </a:cubicBezTo>
                <a:lnTo>
                  <a:pt x="2528761" y="1883404"/>
                </a:lnTo>
                <a:lnTo>
                  <a:pt x="2528761" y="12694"/>
                </a:lnTo>
                <a:close/>
              </a:path>
            </a:pathLst>
          </a:custGeom>
          <a:solidFill>
            <a:schemeClr val="accent3"/>
          </a:solidFill>
          <a:ln w="1269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9DBE4B29-4897-4A3A-B883-A887BCDA37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4420" y="3955665"/>
            <a:ext cx="4367531" cy="524711"/>
          </a:xfrm>
        </p:spPr>
        <p:txBody>
          <a:bodyPr>
            <a:noAutofit/>
          </a:bodyPr>
          <a:lstStyle>
            <a:lvl1pPr marL="0" indent="0" algn="l">
              <a:buNone/>
              <a:defRPr sz="2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dirty="0"/>
              <a:t>August Bergqvist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0EF4532A-9AB5-4545-A83D-BD0E396357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4420" y="4633361"/>
            <a:ext cx="4367531" cy="365125"/>
          </a:xfrm>
        </p:spPr>
        <p:txBody>
          <a:bodyPr>
            <a:noAutofit/>
          </a:bodyPr>
          <a:lstStyle>
            <a:lvl1pPr marL="0" indent="0" algn="l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dirty="0"/>
              <a:t>Phone: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D579A1F5-9180-47FE-A31B-4E37384383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4420" y="4892976"/>
            <a:ext cx="4367531" cy="365125"/>
          </a:xfrm>
        </p:spPr>
        <p:txBody>
          <a:bodyPr>
            <a:noAutofit/>
          </a:bodyPr>
          <a:lstStyle>
            <a:lvl1pPr marL="0" indent="0" algn="l">
              <a:buNone/>
              <a:defRPr sz="2500" b="1" i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dirty="0"/>
              <a:t>678 555-0128</a:t>
            </a:r>
          </a:p>
        </p:txBody>
      </p: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71BBF4E8-67FF-4A65-9EC1-AE832CEBE8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4420" y="5334299"/>
            <a:ext cx="4367531" cy="365125"/>
          </a:xfrm>
        </p:spPr>
        <p:txBody>
          <a:bodyPr>
            <a:noAutofit/>
          </a:bodyPr>
          <a:lstStyle>
            <a:lvl1pPr marL="0" indent="0" algn="l">
              <a:buNone/>
              <a:defRPr sz="1800" b="1" i="0"/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dirty="0"/>
              <a:t>Email: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5BB088E3-63C1-423F-A939-150B8E1F87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4420" y="5593914"/>
            <a:ext cx="4367531" cy="365125"/>
          </a:xfrm>
        </p:spPr>
        <p:txBody>
          <a:bodyPr>
            <a:noAutofit/>
          </a:bodyPr>
          <a:lstStyle>
            <a:lvl1pPr marL="0" indent="0" algn="l">
              <a:buNone/>
              <a:defRPr sz="2500" b="1" i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dirty="0"/>
              <a:t>BERGQVIST@EXAMPLE.COM</a:t>
            </a:r>
          </a:p>
        </p:txBody>
      </p:sp>
      <p:sp>
        <p:nvSpPr>
          <p:cNvPr id="3" name="Graphic 23">
            <a:extLst>
              <a:ext uri="{FF2B5EF4-FFF2-40B4-BE49-F238E27FC236}">
                <a16:creationId xmlns:a16="http://schemas.microsoft.com/office/drawing/2014/main" id="{7E62A657-0B76-4081-A698-3C47F1AFC78E}"/>
              </a:ext>
            </a:extLst>
          </p:cNvPr>
          <p:cNvSpPr/>
          <p:nvPr/>
        </p:nvSpPr>
        <p:spPr>
          <a:xfrm>
            <a:off x="900978" y="1561556"/>
            <a:ext cx="2973890" cy="165305"/>
          </a:xfrm>
          <a:custGeom>
            <a:avLst/>
            <a:gdLst>
              <a:gd name="connsiteX0" fmla="*/ 2914974 w 2973890"/>
              <a:gd name="connsiteY0" fmla="*/ 159367 h 165304"/>
              <a:gd name="connsiteX1" fmla="*/ 70199 w 2973890"/>
              <a:gd name="connsiteY1" fmla="*/ 159367 h 165304"/>
              <a:gd name="connsiteX2" fmla="*/ 8816 w 2973890"/>
              <a:gd name="connsiteY2" fmla="*/ 84344 h 165304"/>
              <a:gd name="connsiteX3" fmla="*/ 8816 w 2973890"/>
              <a:gd name="connsiteY3" fmla="*/ 84344 h 165304"/>
              <a:gd name="connsiteX4" fmla="*/ 70199 w 2973890"/>
              <a:gd name="connsiteY4" fmla="*/ 10593 h 165304"/>
              <a:gd name="connsiteX5" fmla="*/ 2913916 w 2973890"/>
              <a:gd name="connsiteY5" fmla="*/ 10593 h 165304"/>
              <a:gd name="connsiteX6" fmla="*/ 2975298 w 2973890"/>
              <a:gd name="connsiteY6" fmla="*/ 84344 h 165304"/>
              <a:gd name="connsiteX7" fmla="*/ 2975298 w 2973890"/>
              <a:gd name="connsiteY7" fmla="*/ 84344 h 165304"/>
              <a:gd name="connsiteX8" fmla="*/ 2914974 w 2973890"/>
              <a:gd name="connsiteY8" fmla="*/ 159367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73890" h="165304">
                <a:moveTo>
                  <a:pt x="2914974" y="159367"/>
                </a:moveTo>
                <a:lnTo>
                  <a:pt x="70199" y="159367"/>
                </a:lnTo>
                <a:cubicBezTo>
                  <a:pt x="36333" y="159367"/>
                  <a:pt x="8816" y="125034"/>
                  <a:pt x="8816" y="84344"/>
                </a:cubicBezTo>
                <a:lnTo>
                  <a:pt x="8816" y="84344"/>
                </a:lnTo>
                <a:cubicBezTo>
                  <a:pt x="8816" y="43654"/>
                  <a:pt x="36333" y="10593"/>
                  <a:pt x="70199" y="10593"/>
                </a:cubicBezTo>
                <a:lnTo>
                  <a:pt x="2913916" y="10593"/>
                </a:lnTo>
                <a:cubicBezTo>
                  <a:pt x="2947782" y="10593"/>
                  <a:pt x="2975298" y="43654"/>
                  <a:pt x="2975298" y="84344"/>
                </a:cubicBezTo>
                <a:lnTo>
                  <a:pt x="2975298" y="84344"/>
                </a:lnTo>
                <a:cubicBezTo>
                  <a:pt x="2976357" y="125034"/>
                  <a:pt x="2948840" y="159367"/>
                  <a:pt x="2914974" y="15936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05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C51D0359-A547-4B21-8850-06B9F1CDF9CE}"/>
              </a:ext>
            </a:extLst>
          </p:cNvPr>
          <p:cNvSpPr/>
          <p:nvPr userDrawn="1"/>
        </p:nvSpPr>
        <p:spPr>
          <a:xfrm>
            <a:off x="7172412" y="-12694"/>
            <a:ext cx="4978400" cy="2133600"/>
          </a:xfrm>
          <a:custGeom>
            <a:avLst/>
            <a:gdLst>
              <a:gd name="connsiteX0" fmla="*/ 2517688 w 4978400"/>
              <a:gd name="connsiteY0" fmla="*/ 12694 h 2133600"/>
              <a:gd name="connsiteX1" fmla="*/ 371388 w 4978400"/>
              <a:gd name="connsiteY1" fmla="*/ 1070604 h 2133600"/>
              <a:gd name="connsiteX2" fmla="*/ 72938 w 4978400"/>
              <a:gd name="connsiteY2" fmla="*/ 1812284 h 2133600"/>
              <a:gd name="connsiteX3" fmla="*/ 81828 w 4978400"/>
              <a:gd name="connsiteY3" fmla="*/ 1830064 h 2133600"/>
              <a:gd name="connsiteX4" fmla="*/ 851448 w 4978400"/>
              <a:gd name="connsiteY4" fmla="*/ 2044694 h 2133600"/>
              <a:gd name="connsiteX5" fmla="*/ 4970058 w 4978400"/>
              <a:gd name="connsiteY5" fmla="*/ 12694 h 2133600"/>
              <a:gd name="connsiteX6" fmla="*/ 2517688 w 4978400"/>
              <a:gd name="connsiteY6" fmla="*/ 12694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78400" h="2133600">
                <a:moveTo>
                  <a:pt x="2517688" y="12694"/>
                </a:moveTo>
                <a:lnTo>
                  <a:pt x="371388" y="1070604"/>
                </a:lnTo>
                <a:cubicBezTo>
                  <a:pt x="371388" y="1070604"/>
                  <a:pt x="-163282" y="1334764"/>
                  <a:pt x="72938" y="1812284"/>
                </a:cubicBezTo>
                <a:lnTo>
                  <a:pt x="81828" y="1830064"/>
                </a:lnTo>
                <a:cubicBezTo>
                  <a:pt x="81828" y="1830064"/>
                  <a:pt x="316778" y="2307584"/>
                  <a:pt x="851448" y="2044694"/>
                </a:cubicBezTo>
                <a:lnTo>
                  <a:pt x="4970058" y="12694"/>
                </a:lnTo>
                <a:lnTo>
                  <a:pt x="2517688" y="12694"/>
                </a:lnTo>
                <a:close/>
              </a:path>
            </a:pathLst>
          </a:custGeom>
          <a:solidFill>
            <a:schemeClr val="accent1"/>
          </a:solidFill>
          <a:ln w="1269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43714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AD403-A15F-4A2F-B050-AB874136E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588" y="1436921"/>
            <a:ext cx="5690680" cy="1517356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    </a:t>
            </a:r>
            <a:endParaRPr lang="ru-RU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7A7AFAC-3F6D-48D1-A100-148792529BC6}"/>
              </a:ext>
            </a:extLst>
          </p:cNvPr>
          <p:cNvSpPr/>
          <p:nvPr/>
        </p:nvSpPr>
        <p:spPr>
          <a:xfrm>
            <a:off x="8069104" y="5422164"/>
            <a:ext cx="736673" cy="736673"/>
          </a:xfrm>
          <a:custGeom>
            <a:avLst/>
            <a:gdLst>
              <a:gd name="connsiteX0" fmla="*/ 372146 w 736672"/>
              <a:gd name="connsiteY0" fmla="*/ 731592 h 736672"/>
              <a:gd name="connsiteX1" fmla="*/ 731592 w 736672"/>
              <a:gd name="connsiteY1" fmla="*/ 372147 h 736672"/>
              <a:gd name="connsiteX2" fmla="*/ 372146 w 736672"/>
              <a:gd name="connsiteY2" fmla="*/ 12701 h 736672"/>
              <a:gd name="connsiteX3" fmla="*/ 12701 w 736672"/>
              <a:gd name="connsiteY3" fmla="*/ 372147 h 736672"/>
              <a:gd name="connsiteX4" fmla="*/ 372146 w 736672"/>
              <a:gd name="connsiteY4" fmla="*/ 731592 h 73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6672" h="736672">
                <a:moveTo>
                  <a:pt x="372146" y="731592"/>
                </a:moveTo>
                <a:cubicBezTo>
                  <a:pt x="570286" y="731592"/>
                  <a:pt x="731592" y="570286"/>
                  <a:pt x="731592" y="372147"/>
                </a:cubicBezTo>
                <a:cubicBezTo>
                  <a:pt x="731592" y="174007"/>
                  <a:pt x="570286" y="12701"/>
                  <a:pt x="372146" y="12701"/>
                </a:cubicBezTo>
                <a:cubicBezTo>
                  <a:pt x="174007" y="12701"/>
                  <a:pt x="12701" y="174007"/>
                  <a:pt x="12701" y="372147"/>
                </a:cubicBezTo>
                <a:cubicBezTo>
                  <a:pt x="12701" y="570286"/>
                  <a:pt x="174007" y="731592"/>
                  <a:pt x="372146" y="731592"/>
                </a:cubicBezTo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1A4F88F-4E35-4BB3-AD24-CAC580C12F96}"/>
              </a:ext>
            </a:extLst>
          </p:cNvPr>
          <p:cNvSpPr/>
          <p:nvPr/>
        </p:nvSpPr>
        <p:spPr>
          <a:xfrm>
            <a:off x="9029960" y="3463631"/>
            <a:ext cx="3175313" cy="2946690"/>
          </a:xfrm>
          <a:custGeom>
            <a:avLst/>
            <a:gdLst>
              <a:gd name="connsiteX0" fmla="*/ 3162808 w 3175312"/>
              <a:gd name="connsiteY0" fmla="*/ 12701 h 2946690"/>
              <a:gd name="connsiteX1" fmla="*/ 487925 w 3175312"/>
              <a:gd name="connsiteY1" fmla="*/ 1331091 h 2946690"/>
              <a:gd name="connsiteX2" fmla="*/ 113238 w 3175312"/>
              <a:gd name="connsiteY2" fmla="*/ 2433559 h 2946690"/>
              <a:gd name="connsiteX3" fmla="*/ 127209 w 3175312"/>
              <a:gd name="connsiteY3" fmla="*/ 2461502 h 2946690"/>
              <a:gd name="connsiteX4" fmla="*/ 1229677 w 3175312"/>
              <a:gd name="connsiteY4" fmla="*/ 2836189 h 2946690"/>
              <a:gd name="connsiteX5" fmla="*/ 3162808 w 3175312"/>
              <a:gd name="connsiteY5" fmla="*/ 1882325 h 2946690"/>
              <a:gd name="connsiteX6" fmla="*/ 3162808 w 3175312"/>
              <a:gd name="connsiteY6" fmla="*/ 12701 h 294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75312" h="2946690">
                <a:moveTo>
                  <a:pt x="3162808" y="12701"/>
                </a:moveTo>
                <a:lnTo>
                  <a:pt x="487925" y="1331091"/>
                </a:lnTo>
                <a:cubicBezTo>
                  <a:pt x="487925" y="1331091"/>
                  <a:pt x="-250018" y="1695617"/>
                  <a:pt x="113238" y="2433559"/>
                </a:cubicBezTo>
                <a:lnTo>
                  <a:pt x="127209" y="2461502"/>
                </a:lnTo>
                <a:cubicBezTo>
                  <a:pt x="127209" y="2461502"/>
                  <a:pt x="491735" y="3199445"/>
                  <a:pt x="1229677" y="2836189"/>
                </a:cubicBezTo>
                <a:lnTo>
                  <a:pt x="3162808" y="1882325"/>
                </a:lnTo>
                <a:lnTo>
                  <a:pt x="3162808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2CE00E-F2AB-4099-8BB8-F109C4F2EFDB}"/>
              </a:ext>
            </a:extLst>
          </p:cNvPr>
          <p:cNvSpPr/>
          <p:nvPr/>
        </p:nvSpPr>
        <p:spPr>
          <a:xfrm>
            <a:off x="11043829" y="4566099"/>
            <a:ext cx="1155814" cy="863685"/>
          </a:xfrm>
          <a:custGeom>
            <a:avLst/>
            <a:gdLst>
              <a:gd name="connsiteX0" fmla="*/ 1148938 w 1155813"/>
              <a:gd name="connsiteY0" fmla="*/ 12701 h 863685"/>
              <a:gd name="connsiteX1" fmla="*/ 173482 w 1155813"/>
              <a:gd name="connsiteY1" fmla="*/ 494079 h 863685"/>
              <a:gd name="connsiteX2" fmla="*/ 28688 w 1155813"/>
              <a:gd name="connsiteY2" fmla="*/ 759535 h 863685"/>
              <a:gd name="connsiteX3" fmla="*/ 31228 w 1155813"/>
              <a:gd name="connsiteY3" fmla="*/ 765885 h 863685"/>
              <a:gd name="connsiteX4" fmla="*/ 329707 w 1155813"/>
              <a:gd name="connsiteY4" fmla="*/ 812880 h 863685"/>
              <a:gd name="connsiteX5" fmla="*/ 1147668 w 1155813"/>
              <a:gd name="connsiteY5" fmla="*/ 408980 h 863685"/>
              <a:gd name="connsiteX6" fmla="*/ 1147668 w 1155813"/>
              <a:gd name="connsiteY6" fmla="*/ 12701 h 863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5813" h="863685">
                <a:moveTo>
                  <a:pt x="1148938" y="12701"/>
                </a:moveTo>
                <a:lnTo>
                  <a:pt x="173482" y="494079"/>
                </a:lnTo>
                <a:cubicBezTo>
                  <a:pt x="173482" y="494079"/>
                  <a:pt x="-47520" y="603309"/>
                  <a:pt x="28688" y="759535"/>
                </a:cubicBezTo>
                <a:lnTo>
                  <a:pt x="31228" y="765885"/>
                </a:lnTo>
                <a:cubicBezTo>
                  <a:pt x="31228" y="765885"/>
                  <a:pt x="108705" y="922111"/>
                  <a:pt x="329707" y="812880"/>
                </a:cubicBezTo>
                <a:lnTo>
                  <a:pt x="1147668" y="408980"/>
                </a:lnTo>
                <a:lnTo>
                  <a:pt x="1147668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0920EEC-7CE3-4708-93D2-53699D17E5E3}"/>
              </a:ext>
            </a:extLst>
          </p:cNvPr>
          <p:cNvSpPr/>
          <p:nvPr/>
        </p:nvSpPr>
        <p:spPr>
          <a:xfrm>
            <a:off x="10743661" y="-1689"/>
            <a:ext cx="1447943" cy="1003399"/>
          </a:xfrm>
          <a:custGeom>
            <a:avLst/>
            <a:gdLst>
              <a:gd name="connsiteX0" fmla="*/ 1446147 w 1447942"/>
              <a:gd name="connsiteY0" fmla="*/ 12701 h 1003398"/>
              <a:gd name="connsiteX1" fmla="*/ 173482 w 1447942"/>
              <a:gd name="connsiteY1" fmla="*/ 640143 h 1003398"/>
              <a:gd name="connsiteX2" fmla="*/ 28688 w 1447942"/>
              <a:gd name="connsiteY2" fmla="*/ 905599 h 1003398"/>
              <a:gd name="connsiteX3" fmla="*/ 31227 w 1447942"/>
              <a:gd name="connsiteY3" fmla="*/ 911950 h 1003398"/>
              <a:gd name="connsiteX4" fmla="*/ 329707 w 1447942"/>
              <a:gd name="connsiteY4" fmla="*/ 958944 h 1003398"/>
              <a:gd name="connsiteX5" fmla="*/ 1446147 w 1447942"/>
              <a:gd name="connsiteY5" fmla="*/ 408980 h 1003398"/>
              <a:gd name="connsiteX6" fmla="*/ 1446147 w 1447942"/>
              <a:gd name="connsiteY6" fmla="*/ 12701 h 100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47942" h="1003398">
                <a:moveTo>
                  <a:pt x="1446147" y="12701"/>
                </a:moveTo>
                <a:lnTo>
                  <a:pt x="173482" y="640143"/>
                </a:lnTo>
                <a:cubicBezTo>
                  <a:pt x="173482" y="640143"/>
                  <a:pt x="-47520" y="749374"/>
                  <a:pt x="28688" y="905599"/>
                </a:cubicBezTo>
                <a:lnTo>
                  <a:pt x="31227" y="911950"/>
                </a:lnTo>
                <a:cubicBezTo>
                  <a:pt x="31227" y="911950"/>
                  <a:pt x="108705" y="1068175"/>
                  <a:pt x="329707" y="958944"/>
                </a:cubicBezTo>
                <a:lnTo>
                  <a:pt x="1446147" y="408980"/>
                </a:lnTo>
                <a:lnTo>
                  <a:pt x="1446147" y="12701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DF8B751-9294-46D5-B390-5D322195540F}"/>
              </a:ext>
            </a:extLst>
          </p:cNvPr>
          <p:cNvSpPr/>
          <p:nvPr/>
        </p:nvSpPr>
        <p:spPr>
          <a:xfrm>
            <a:off x="6536780" y="-12701"/>
            <a:ext cx="4978890" cy="2133810"/>
          </a:xfrm>
          <a:custGeom>
            <a:avLst/>
            <a:gdLst>
              <a:gd name="connsiteX0" fmla="*/ 2515401 w 4978890"/>
              <a:gd name="connsiteY0" fmla="*/ 12701 h 2133810"/>
              <a:gd name="connsiteX1" fmla="*/ 371430 w 4978890"/>
              <a:gd name="connsiteY1" fmla="*/ 1069445 h 2133810"/>
              <a:gd name="connsiteX2" fmla="*/ 72951 w 4978890"/>
              <a:gd name="connsiteY2" fmla="*/ 1811198 h 2133810"/>
              <a:gd name="connsiteX3" fmla="*/ 81841 w 4978890"/>
              <a:gd name="connsiteY3" fmla="*/ 1828980 h 2133810"/>
              <a:gd name="connsiteX4" fmla="*/ 851538 w 4978890"/>
              <a:gd name="connsiteY4" fmla="*/ 2043631 h 2133810"/>
              <a:gd name="connsiteX5" fmla="*/ 4968013 w 4978890"/>
              <a:gd name="connsiteY5" fmla="*/ 12701 h 2133810"/>
              <a:gd name="connsiteX6" fmla="*/ 2515401 w 4978890"/>
              <a:gd name="connsiteY6" fmla="*/ 12701 h 2133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78890" h="2133810">
                <a:moveTo>
                  <a:pt x="2515401" y="12701"/>
                </a:moveTo>
                <a:lnTo>
                  <a:pt x="371430" y="1069445"/>
                </a:lnTo>
                <a:cubicBezTo>
                  <a:pt x="371430" y="1069445"/>
                  <a:pt x="-163293" y="1333631"/>
                  <a:pt x="72951" y="1811198"/>
                </a:cubicBezTo>
                <a:lnTo>
                  <a:pt x="81841" y="1828980"/>
                </a:lnTo>
                <a:cubicBezTo>
                  <a:pt x="81841" y="1828980"/>
                  <a:pt x="316814" y="2306547"/>
                  <a:pt x="851538" y="2043631"/>
                </a:cubicBezTo>
                <a:lnTo>
                  <a:pt x="4968013" y="12701"/>
                </a:lnTo>
                <a:lnTo>
                  <a:pt x="2515401" y="1270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0F651C6-BE74-4133-ABA8-316072D4F5B5}"/>
              </a:ext>
            </a:extLst>
          </p:cNvPr>
          <p:cNvSpPr/>
          <p:nvPr/>
        </p:nvSpPr>
        <p:spPr>
          <a:xfrm>
            <a:off x="6518963" y="-12701"/>
            <a:ext cx="5029695" cy="2146511"/>
          </a:xfrm>
          <a:custGeom>
            <a:avLst/>
            <a:gdLst>
              <a:gd name="connsiteX0" fmla="*/ 4942646 w 5029695"/>
              <a:gd name="connsiteY0" fmla="*/ 12701 h 2146511"/>
              <a:gd name="connsiteX1" fmla="*/ 860464 w 5029695"/>
              <a:gd name="connsiteY1" fmla="*/ 2025849 h 2146511"/>
              <a:gd name="connsiteX2" fmla="*/ 295258 w 5029695"/>
              <a:gd name="connsiteY2" fmla="*/ 2019499 h 2146511"/>
              <a:gd name="connsiteX3" fmla="*/ 116171 w 5029695"/>
              <a:gd name="connsiteY3" fmla="*/ 1820089 h 2146511"/>
              <a:gd name="connsiteX4" fmla="*/ 107280 w 5029695"/>
              <a:gd name="connsiteY4" fmla="*/ 1802307 h 2146511"/>
              <a:gd name="connsiteX5" fmla="*/ 165705 w 5029695"/>
              <a:gd name="connsiteY5" fmla="*/ 1273935 h 2146511"/>
              <a:gd name="connsiteX6" fmla="*/ 398138 w 5029695"/>
              <a:gd name="connsiteY6" fmla="*/ 1085957 h 2146511"/>
              <a:gd name="connsiteX7" fmla="*/ 2576402 w 5029695"/>
              <a:gd name="connsiteY7" fmla="*/ 12701 h 2146511"/>
              <a:gd name="connsiteX8" fmla="*/ 2490034 w 5029695"/>
              <a:gd name="connsiteY8" fmla="*/ 12701 h 2146511"/>
              <a:gd name="connsiteX9" fmla="*/ 381626 w 5029695"/>
              <a:gd name="connsiteY9" fmla="*/ 1052934 h 2146511"/>
              <a:gd name="connsiteX10" fmla="*/ 137762 w 5029695"/>
              <a:gd name="connsiteY10" fmla="*/ 1249803 h 2146511"/>
              <a:gd name="connsiteX11" fmla="*/ 74256 w 5029695"/>
              <a:gd name="connsiteY11" fmla="*/ 1820089 h 2146511"/>
              <a:gd name="connsiteX12" fmla="*/ 83147 w 5029695"/>
              <a:gd name="connsiteY12" fmla="*/ 1837871 h 2146511"/>
              <a:gd name="connsiteX13" fmla="*/ 273666 w 5029695"/>
              <a:gd name="connsiteY13" fmla="*/ 2051252 h 2146511"/>
              <a:gd name="connsiteX14" fmla="*/ 564525 w 5029695"/>
              <a:gd name="connsiteY14" fmla="*/ 2141431 h 2146511"/>
              <a:gd name="connsiteX15" fmla="*/ 878246 w 5029695"/>
              <a:gd name="connsiteY15" fmla="*/ 2060143 h 2146511"/>
              <a:gd name="connsiteX16" fmla="*/ 5029014 w 5029695"/>
              <a:gd name="connsiteY16" fmla="*/ 12701 h 2146511"/>
              <a:gd name="connsiteX17" fmla="*/ 4942646 w 5029695"/>
              <a:gd name="connsiteY17" fmla="*/ 12701 h 2146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029695" h="2146511">
                <a:moveTo>
                  <a:pt x="4942646" y="12701"/>
                </a:moveTo>
                <a:lnTo>
                  <a:pt x="860464" y="2025849"/>
                </a:lnTo>
                <a:cubicBezTo>
                  <a:pt x="645812" y="2131270"/>
                  <a:pt x="456564" y="2130000"/>
                  <a:pt x="295258" y="2019499"/>
                </a:cubicBezTo>
                <a:cubicBezTo>
                  <a:pt x="174596" y="1936941"/>
                  <a:pt x="116171" y="1821359"/>
                  <a:pt x="116171" y="1820089"/>
                </a:cubicBezTo>
                <a:lnTo>
                  <a:pt x="107280" y="1802307"/>
                </a:lnTo>
                <a:cubicBezTo>
                  <a:pt x="13290" y="1611789"/>
                  <a:pt x="32342" y="1433971"/>
                  <a:pt x="165705" y="1273935"/>
                </a:cubicBezTo>
                <a:cubicBezTo>
                  <a:pt x="266045" y="1153274"/>
                  <a:pt x="395598" y="1087227"/>
                  <a:pt x="398138" y="1085957"/>
                </a:cubicBezTo>
                <a:lnTo>
                  <a:pt x="2576402" y="12701"/>
                </a:lnTo>
                <a:lnTo>
                  <a:pt x="2490034" y="12701"/>
                </a:lnTo>
                <a:lnTo>
                  <a:pt x="381626" y="1052934"/>
                </a:lnTo>
                <a:cubicBezTo>
                  <a:pt x="376546" y="1055474"/>
                  <a:pt x="243183" y="1121520"/>
                  <a:pt x="137762" y="1249803"/>
                </a:cubicBezTo>
                <a:cubicBezTo>
                  <a:pt x="38693" y="1369195"/>
                  <a:pt x="-51486" y="1564794"/>
                  <a:pt x="74256" y="1820089"/>
                </a:cubicBezTo>
                <a:lnTo>
                  <a:pt x="83147" y="1837871"/>
                </a:lnTo>
                <a:cubicBezTo>
                  <a:pt x="85687" y="1842952"/>
                  <a:pt x="145383" y="1962343"/>
                  <a:pt x="273666" y="2051252"/>
                </a:cubicBezTo>
                <a:cubicBezTo>
                  <a:pt x="342253" y="2098247"/>
                  <a:pt x="440053" y="2141431"/>
                  <a:pt x="564525" y="2141431"/>
                </a:cubicBezTo>
                <a:cubicBezTo>
                  <a:pt x="654703" y="2141431"/>
                  <a:pt x="758854" y="2119839"/>
                  <a:pt x="878246" y="2060143"/>
                </a:cubicBezTo>
                <a:lnTo>
                  <a:pt x="5029014" y="12701"/>
                </a:lnTo>
                <a:lnTo>
                  <a:pt x="4942646" y="12701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0" name="Graphic 37">
            <a:extLst>
              <a:ext uri="{FF2B5EF4-FFF2-40B4-BE49-F238E27FC236}">
                <a16:creationId xmlns:a16="http://schemas.microsoft.com/office/drawing/2014/main" id="{9F75ED2D-7077-4753-B623-4B9A718EB224}"/>
              </a:ext>
            </a:extLst>
          </p:cNvPr>
          <p:cNvSpPr/>
          <p:nvPr userDrawn="1"/>
        </p:nvSpPr>
        <p:spPr>
          <a:xfrm>
            <a:off x="895717" y="3124629"/>
            <a:ext cx="2158296" cy="151200"/>
          </a:xfrm>
          <a:custGeom>
            <a:avLst/>
            <a:gdLst>
              <a:gd name="connsiteX0" fmla="*/ 2087180 w 2158295"/>
              <a:gd name="connsiteY0" fmla="*/ 153601 h 165045"/>
              <a:gd name="connsiteX1" fmla="*/ 82504 w 2158295"/>
              <a:gd name="connsiteY1" fmla="*/ 153601 h 165045"/>
              <a:gd name="connsiteX2" fmla="*/ 12677 w 2158295"/>
              <a:gd name="connsiteY2" fmla="*/ 83774 h 165045"/>
              <a:gd name="connsiteX3" fmla="*/ 12677 w 2158295"/>
              <a:gd name="connsiteY3" fmla="*/ 83774 h 165045"/>
              <a:gd name="connsiteX4" fmla="*/ 82504 w 2158295"/>
              <a:gd name="connsiteY4" fmla="*/ 12677 h 165045"/>
              <a:gd name="connsiteX5" fmla="*/ 2087180 w 2158295"/>
              <a:gd name="connsiteY5" fmla="*/ 12677 h 165045"/>
              <a:gd name="connsiteX6" fmla="*/ 2157008 w 2158295"/>
              <a:gd name="connsiteY6" fmla="*/ 82504 h 165045"/>
              <a:gd name="connsiteX7" fmla="*/ 2157008 w 2158295"/>
              <a:gd name="connsiteY7" fmla="*/ 82504 h 165045"/>
              <a:gd name="connsiteX8" fmla="*/ 2087180 w 2158295"/>
              <a:gd name="connsiteY8" fmla="*/ 153601 h 165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58295" h="165045">
                <a:moveTo>
                  <a:pt x="2087180" y="153601"/>
                </a:moveTo>
                <a:lnTo>
                  <a:pt x="82504" y="153601"/>
                </a:lnTo>
                <a:cubicBezTo>
                  <a:pt x="44417" y="153601"/>
                  <a:pt x="12677" y="121861"/>
                  <a:pt x="12677" y="83774"/>
                </a:cubicBezTo>
                <a:lnTo>
                  <a:pt x="12677" y="83774"/>
                </a:lnTo>
                <a:cubicBezTo>
                  <a:pt x="12677" y="44417"/>
                  <a:pt x="44417" y="12677"/>
                  <a:pt x="82504" y="12677"/>
                </a:cubicBezTo>
                <a:lnTo>
                  <a:pt x="2087180" y="12677"/>
                </a:lnTo>
                <a:cubicBezTo>
                  <a:pt x="2125268" y="12677"/>
                  <a:pt x="2157008" y="44417"/>
                  <a:pt x="2157008" y="82504"/>
                </a:cubicBezTo>
                <a:lnTo>
                  <a:pt x="2157008" y="82504"/>
                </a:lnTo>
                <a:cubicBezTo>
                  <a:pt x="2157008" y="121861"/>
                  <a:pt x="2126538" y="153601"/>
                  <a:pt x="2087180" y="15360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2681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2" name="Graphic 36">
            <a:extLst>
              <a:ext uri="{FF2B5EF4-FFF2-40B4-BE49-F238E27FC236}">
                <a16:creationId xmlns:a16="http://schemas.microsoft.com/office/drawing/2014/main" id="{21FF5BCF-BC53-4C3F-8B7F-7077B35ADCA8}"/>
              </a:ext>
            </a:extLst>
          </p:cNvPr>
          <p:cNvSpPr/>
          <p:nvPr userDrawn="1"/>
        </p:nvSpPr>
        <p:spPr>
          <a:xfrm>
            <a:off x="-7816" y="5057878"/>
            <a:ext cx="715108" cy="949829"/>
          </a:xfrm>
          <a:custGeom>
            <a:avLst/>
            <a:gdLst>
              <a:gd name="connsiteX0" fmla="*/ 217522 w 723600"/>
              <a:gd name="connsiteY0" fmla="*/ 9082 h 1015200"/>
              <a:gd name="connsiteX1" fmla="*/ 9082 w 723600"/>
              <a:gd name="connsiteY1" fmla="*/ 9082 h 1015200"/>
              <a:gd name="connsiteX2" fmla="*/ 9082 w 723600"/>
              <a:gd name="connsiteY2" fmla="*/ 1010242 h 1015200"/>
              <a:gd name="connsiteX3" fmla="*/ 217522 w 723600"/>
              <a:gd name="connsiteY3" fmla="*/ 1010242 h 1015200"/>
              <a:gd name="connsiteX4" fmla="*/ 716482 w 723600"/>
              <a:gd name="connsiteY4" fmla="*/ 518842 h 1015200"/>
              <a:gd name="connsiteX5" fmla="*/ 716482 w 723600"/>
              <a:gd name="connsiteY5" fmla="*/ 500482 h 1015200"/>
              <a:gd name="connsiteX6" fmla="*/ 217522 w 723600"/>
              <a:gd name="connsiteY6" fmla="*/ 9082 h 10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3600" h="1015200">
                <a:moveTo>
                  <a:pt x="217522" y="9082"/>
                </a:moveTo>
                <a:lnTo>
                  <a:pt x="9082" y="9082"/>
                </a:lnTo>
                <a:lnTo>
                  <a:pt x="9082" y="1010242"/>
                </a:lnTo>
                <a:lnTo>
                  <a:pt x="217522" y="1010242"/>
                </a:lnTo>
                <a:cubicBezTo>
                  <a:pt x="217522" y="1010242"/>
                  <a:pt x="716482" y="1010242"/>
                  <a:pt x="716482" y="518842"/>
                </a:cubicBezTo>
                <a:lnTo>
                  <a:pt x="716482" y="500482"/>
                </a:lnTo>
                <a:cubicBezTo>
                  <a:pt x="716482" y="500482"/>
                  <a:pt x="716482" y="9082"/>
                  <a:pt x="217522" y="9082"/>
                </a:cubicBezTo>
                <a:close/>
              </a:path>
            </a:pathLst>
          </a:custGeom>
          <a:solidFill>
            <a:schemeClr val="accent3"/>
          </a:solidFill>
          <a:ln w="106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BCD5243-C973-44F2-88E8-A4A6E3387B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8588" y="3429000"/>
            <a:ext cx="3629300" cy="946192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b="1" i="0"/>
            </a:lvl1pPr>
          </a:lstStyle>
          <a:p>
            <a:pPr marL="228600" lvl="0" indent="-228600"/>
            <a:r>
              <a:rPr lang="en-US" altLang="ko-KR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0068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>
            <a:extLst>
              <a:ext uri="{FF2B5EF4-FFF2-40B4-BE49-F238E27FC236}">
                <a16:creationId xmlns:a16="http://schemas.microsoft.com/office/drawing/2014/main" id="{13074BE4-153F-46FE-B915-CD1AEF318A25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Graphic 12">
            <a:extLst>
              <a:ext uri="{FF2B5EF4-FFF2-40B4-BE49-F238E27FC236}">
                <a16:creationId xmlns:a16="http://schemas.microsoft.com/office/drawing/2014/main" id="{0B7E91C4-F19E-46BE-B05F-139B5418924E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8A64499-0304-4070-BCB0-67E2BE20A3EA}"/>
              </a:ext>
            </a:extLst>
          </p:cNvPr>
          <p:cNvSpPr/>
          <p:nvPr userDrawn="1"/>
        </p:nvSpPr>
        <p:spPr>
          <a:xfrm>
            <a:off x="7998821" y="1645349"/>
            <a:ext cx="4196737" cy="1001638"/>
          </a:xfrm>
          <a:custGeom>
            <a:avLst/>
            <a:gdLst>
              <a:gd name="connsiteX0" fmla="*/ 3150394 w 3152775"/>
              <a:gd name="connsiteY0" fmla="*/ 7144 h 752475"/>
              <a:gd name="connsiteX1" fmla="*/ 371952 w 3152775"/>
              <a:gd name="connsiteY1" fmla="*/ 7144 h 752475"/>
              <a:gd name="connsiteX2" fmla="*/ 7144 w 3152775"/>
              <a:gd name="connsiteY2" fmla="*/ 370999 h 752475"/>
              <a:gd name="connsiteX3" fmla="*/ 7144 w 3152775"/>
              <a:gd name="connsiteY3" fmla="*/ 384334 h 752475"/>
              <a:gd name="connsiteX4" fmla="*/ 371952 w 3152775"/>
              <a:gd name="connsiteY4" fmla="*/ 748189 h 752475"/>
              <a:gd name="connsiteX5" fmla="*/ 3150394 w 3152775"/>
              <a:gd name="connsiteY5" fmla="*/ 748189 h 752475"/>
              <a:gd name="connsiteX6" fmla="*/ 3150394 w 3152775"/>
              <a:gd name="connsiteY6" fmla="*/ 7144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2775" h="752475">
                <a:moveTo>
                  <a:pt x="3150394" y="7144"/>
                </a:moveTo>
                <a:lnTo>
                  <a:pt x="371952" y="7144"/>
                </a:lnTo>
                <a:cubicBezTo>
                  <a:pt x="371952" y="7144"/>
                  <a:pt x="7144" y="7144"/>
                  <a:pt x="7144" y="370999"/>
                </a:cubicBezTo>
                <a:lnTo>
                  <a:pt x="7144" y="384334"/>
                </a:lnTo>
                <a:cubicBezTo>
                  <a:pt x="7144" y="384334"/>
                  <a:pt x="7144" y="748189"/>
                  <a:pt x="371952" y="748189"/>
                </a:cubicBezTo>
                <a:lnTo>
                  <a:pt x="3150394" y="748189"/>
                </a:lnTo>
                <a:lnTo>
                  <a:pt x="3150394" y="714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D1736B3-AE79-40C2-80FF-2FB0FEE27195}"/>
              </a:ext>
            </a:extLst>
          </p:cNvPr>
          <p:cNvSpPr/>
          <p:nvPr userDrawn="1"/>
        </p:nvSpPr>
        <p:spPr>
          <a:xfrm>
            <a:off x="12186920" y="2632655"/>
            <a:ext cx="5081" cy="25381"/>
          </a:xfrm>
          <a:custGeom>
            <a:avLst/>
            <a:gdLst>
              <a:gd name="connsiteX0" fmla="*/ 0 w 5081"/>
              <a:gd name="connsiteY0" fmla="*/ 0 h 25381"/>
              <a:gd name="connsiteX1" fmla="*/ 5081 w 5081"/>
              <a:gd name="connsiteY1" fmla="*/ 0 h 25381"/>
              <a:gd name="connsiteX2" fmla="*/ 5081 w 5081"/>
              <a:gd name="connsiteY2" fmla="*/ 25381 h 25381"/>
              <a:gd name="connsiteX3" fmla="*/ 0 w 5081"/>
              <a:gd name="connsiteY3" fmla="*/ 25381 h 25381"/>
              <a:gd name="connsiteX4" fmla="*/ 0 w 5081"/>
              <a:gd name="connsiteY4" fmla="*/ 0 h 2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1">
                <a:moveTo>
                  <a:pt x="0" y="0"/>
                </a:moveTo>
                <a:lnTo>
                  <a:pt x="5081" y="0"/>
                </a:lnTo>
                <a:lnTo>
                  <a:pt x="5081" y="25381"/>
                </a:lnTo>
                <a:lnTo>
                  <a:pt x="0" y="25381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228EE-3546-4272-9C39-150FF23CE0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1987" y="793172"/>
            <a:ext cx="9144000" cy="655621"/>
          </a:xfrm>
        </p:spPr>
        <p:txBody>
          <a:bodyPr anchor="b">
            <a:normAutofit/>
          </a:bodyPr>
          <a:lstStyle>
            <a:lvl1pPr algn="l">
              <a:defRPr sz="4000" b="1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DIVIDER SLID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2EFCC6-4D5A-4B43-A534-1A868887BC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5772" y="1877051"/>
            <a:ext cx="6843278" cy="496223"/>
          </a:xfrm>
        </p:spPr>
        <p:txBody>
          <a:bodyPr>
            <a:normAutofit/>
          </a:bodyPr>
          <a:lstStyle>
            <a:lvl1pPr marL="0" indent="0" algn="l">
              <a:buNone/>
              <a:defRPr sz="1800" b="1" i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ko-KR"/>
              <a:t>Click to edit Master subtitle style</a:t>
            </a:r>
            <a:endParaRPr lang="ru-RU" dirty="0"/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4EE1436E-33B5-4388-87D8-2D0633CC3CE7}"/>
              </a:ext>
            </a:extLst>
          </p:cNvPr>
          <p:cNvSpPr/>
          <p:nvPr/>
        </p:nvSpPr>
        <p:spPr>
          <a:xfrm>
            <a:off x="903223" y="1550951"/>
            <a:ext cx="3273552" cy="151200"/>
          </a:xfrm>
          <a:custGeom>
            <a:avLst/>
            <a:gdLst>
              <a:gd name="connsiteX0" fmla="*/ 2392204 w 2447925"/>
              <a:gd name="connsiteY0" fmla="*/ 114776 h 114300"/>
              <a:gd name="connsiteX1" fmla="*/ 60484 w 2447925"/>
              <a:gd name="connsiteY1" fmla="*/ 114776 h 114300"/>
              <a:gd name="connsiteX2" fmla="*/ 7144 w 2447925"/>
              <a:gd name="connsiteY2" fmla="*/ 60484 h 114300"/>
              <a:gd name="connsiteX3" fmla="*/ 7144 w 2447925"/>
              <a:gd name="connsiteY3" fmla="*/ 60484 h 114300"/>
              <a:gd name="connsiteX4" fmla="*/ 60484 w 2447925"/>
              <a:gd name="connsiteY4" fmla="*/ 7144 h 114300"/>
              <a:gd name="connsiteX5" fmla="*/ 2392204 w 2447925"/>
              <a:gd name="connsiteY5" fmla="*/ 7144 h 114300"/>
              <a:gd name="connsiteX6" fmla="*/ 2445544 w 2447925"/>
              <a:gd name="connsiteY6" fmla="*/ 60484 h 114300"/>
              <a:gd name="connsiteX7" fmla="*/ 2445544 w 2447925"/>
              <a:gd name="connsiteY7" fmla="*/ 60484 h 114300"/>
              <a:gd name="connsiteX8" fmla="*/ 2392204 w 2447925"/>
              <a:gd name="connsiteY8" fmla="*/ 114776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47925" h="114300">
                <a:moveTo>
                  <a:pt x="2392204" y="114776"/>
                </a:moveTo>
                <a:lnTo>
                  <a:pt x="60484" y="114776"/>
                </a:lnTo>
                <a:cubicBezTo>
                  <a:pt x="30956" y="114776"/>
                  <a:pt x="7144" y="90011"/>
                  <a:pt x="7144" y="60484"/>
                </a:cubicBezTo>
                <a:lnTo>
                  <a:pt x="7144" y="60484"/>
                </a:lnTo>
                <a:cubicBezTo>
                  <a:pt x="7144" y="30956"/>
                  <a:pt x="30956" y="7144"/>
                  <a:pt x="60484" y="7144"/>
                </a:cubicBezTo>
                <a:lnTo>
                  <a:pt x="2392204" y="7144"/>
                </a:lnTo>
                <a:cubicBezTo>
                  <a:pt x="2421731" y="7144"/>
                  <a:pt x="2445544" y="30956"/>
                  <a:pt x="2445544" y="60484"/>
                </a:cubicBezTo>
                <a:lnTo>
                  <a:pt x="2445544" y="60484"/>
                </a:lnTo>
                <a:cubicBezTo>
                  <a:pt x="2445544" y="90011"/>
                  <a:pt x="2421731" y="114776"/>
                  <a:pt x="2392204" y="11477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8FB11AB-3031-47CA-85DD-696856C3C62C}"/>
              </a:ext>
            </a:extLst>
          </p:cNvPr>
          <p:cNvSpPr/>
          <p:nvPr/>
        </p:nvSpPr>
        <p:spPr>
          <a:xfrm>
            <a:off x="3899957" y="4662943"/>
            <a:ext cx="8292043" cy="760738"/>
          </a:xfrm>
          <a:custGeom>
            <a:avLst/>
            <a:gdLst>
              <a:gd name="connsiteX0" fmla="*/ 6228874 w 6229350"/>
              <a:gd name="connsiteY0" fmla="*/ 7144 h 571500"/>
              <a:gd name="connsiteX1" fmla="*/ 284321 w 6229350"/>
              <a:gd name="connsiteY1" fmla="*/ 7144 h 571500"/>
              <a:gd name="connsiteX2" fmla="*/ 7144 w 6229350"/>
              <a:gd name="connsiteY2" fmla="*/ 282416 h 571500"/>
              <a:gd name="connsiteX3" fmla="*/ 7144 w 6229350"/>
              <a:gd name="connsiteY3" fmla="*/ 292894 h 571500"/>
              <a:gd name="connsiteX4" fmla="*/ 284321 w 6229350"/>
              <a:gd name="connsiteY4" fmla="*/ 568166 h 571500"/>
              <a:gd name="connsiteX5" fmla="*/ 6228874 w 6229350"/>
              <a:gd name="connsiteY5" fmla="*/ 568166 h 571500"/>
              <a:gd name="connsiteX6" fmla="*/ 6228874 w 6229350"/>
              <a:gd name="connsiteY6" fmla="*/ 7144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9350" h="571500">
                <a:moveTo>
                  <a:pt x="6228874" y="7144"/>
                </a:moveTo>
                <a:lnTo>
                  <a:pt x="284321" y="7144"/>
                </a:lnTo>
                <a:cubicBezTo>
                  <a:pt x="284321" y="7144"/>
                  <a:pt x="7144" y="7144"/>
                  <a:pt x="7144" y="282416"/>
                </a:cubicBezTo>
                <a:lnTo>
                  <a:pt x="7144" y="292894"/>
                </a:lnTo>
                <a:cubicBezTo>
                  <a:pt x="7144" y="292894"/>
                  <a:pt x="7144" y="568166"/>
                  <a:pt x="284321" y="568166"/>
                </a:cubicBezTo>
                <a:lnTo>
                  <a:pt x="6228874" y="568166"/>
                </a:lnTo>
                <a:lnTo>
                  <a:pt x="6228874" y="714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9CD6F167-FB82-4EFB-BAB9-1D0FEE07B85D}"/>
              </a:ext>
            </a:extLst>
          </p:cNvPr>
          <p:cNvSpPr/>
          <p:nvPr/>
        </p:nvSpPr>
        <p:spPr>
          <a:xfrm>
            <a:off x="3909848" y="4665641"/>
            <a:ext cx="8277071" cy="257213"/>
          </a:xfrm>
          <a:custGeom>
            <a:avLst/>
            <a:gdLst>
              <a:gd name="connsiteX0" fmla="*/ 363403 w 8277071"/>
              <a:gd name="connsiteY0" fmla="*/ 0 h 257213"/>
              <a:gd name="connsiteX1" fmla="*/ 8277071 w 8277071"/>
              <a:gd name="connsiteY1" fmla="*/ 0 h 257213"/>
              <a:gd name="connsiteX2" fmla="*/ 8277071 w 8277071"/>
              <a:gd name="connsiteY2" fmla="*/ 25380 h 257213"/>
              <a:gd name="connsiteX3" fmla="*/ 363403 w 8277071"/>
              <a:gd name="connsiteY3" fmla="*/ 25380 h 257213"/>
              <a:gd name="connsiteX4" fmla="*/ 61632 w 8277071"/>
              <a:gd name="connsiteY4" fmla="*/ 176355 h 257213"/>
              <a:gd name="connsiteX5" fmla="*/ 25441 w 8277071"/>
              <a:gd name="connsiteY5" fmla="*/ 257213 h 257213"/>
              <a:gd name="connsiteX6" fmla="*/ 0 w 8277071"/>
              <a:gd name="connsiteY6" fmla="*/ 257213 h 257213"/>
              <a:gd name="connsiteX7" fmla="*/ 29624 w 8277071"/>
              <a:gd name="connsiteY7" fmla="*/ 181325 h 257213"/>
              <a:gd name="connsiteX8" fmla="*/ 363403 w 8277071"/>
              <a:gd name="connsiteY8" fmla="*/ 0 h 257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7071" h="257213">
                <a:moveTo>
                  <a:pt x="363403" y="0"/>
                </a:moveTo>
                <a:lnTo>
                  <a:pt x="8277071" y="0"/>
                </a:lnTo>
                <a:lnTo>
                  <a:pt x="8277071" y="25380"/>
                </a:lnTo>
                <a:lnTo>
                  <a:pt x="363403" y="25380"/>
                </a:lnTo>
                <a:cubicBezTo>
                  <a:pt x="352934" y="25380"/>
                  <a:pt x="158297" y="28235"/>
                  <a:pt x="61632" y="176355"/>
                </a:cubicBezTo>
                <a:lnTo>
                  <a:pt x="25441" y="257213"/>
                </a:lnTo>
                <a:lnTo>
                  <a:pt x="0" y="257213"/>
                </a:lnTo>
                <a:lnTo>
                  <a:pt x="29624" y="181325"/>
                </a:lnTo>
                <a:cubicBezTo>
                  <a:pt x="130358" y="2915"/>
                  <a:pt x="360072" y="0"/>
                  <a:pt x="363403" y="0"/>
                </a:cubicBez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DD2082D-81A7-4E2D-8136-9D48016E7FE9}"/>
              </a:ext>
            </a:extLst>
          </p:cNvPr>
          <p:cNvSpPr/>
          <p:nvPr/>
        </p:nvSpPr>
        <p:spPr>
          <a:xfrm>
            <a:off x="12186919" y="4665641"/>
            <a:ext cx="5081" cy="25380"/>
          </a:xfrm>
          <a:custGeom>
            <a:avLst/>
            <a:gdLst>
              <a:gd name="connsiteX0" fmla="*/ 0 w 5081"/>
              <a:gd name="connsiteY0" fmla="*/ 0 h 25380"/>
              <a:gd name="connsiteX1" fmla="*/ 5081 w 5081"/>
              <a:gd name="connsiteY1" fmla="*/ 0 h 25380"/>
              <a:gd name="connsiteX2" fmla="*/ 5081 w 5081"/>
              <a:gd name="connsiteY2" fmla="*/ 25380 h 25380"/>
              <a:gd name="connsiteX3" fmla="*/ 0 w 5081"/>
              <a:gd name="connsiteY3" fmla="*/ 25380 h 25380"/>
              <a:gd name="connsiteX4" fmla="*/ 0 w 5081"/>
              <a:gd name="connsiteY4" fmla="*/ 0 h 25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1" h="25380">
                <a:moveTo>
                  <a:pt x="0" y="0"/>
                </a:moveTo>
                <a:lnTo>
                  <a:pt x="5081" y="0"/>
                </a:lnTo>
                <a:lnTo>
                  <a:pt x="5081" y="25380"/>
                </a:lnTo>
                <a:lnTo>
                  <a:pt x="0" y="2538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CF16C35-4A81-4062-808C-7697AF0FD6F5}"/>
              </a:ext>
            </a:extLst>
          </p:cNvPr>
          <p:cNvSpPr/>
          <p:nvPr/>
        </p:nvSpPr>
        <p:spPr>
          <a:xfrm>
            <a:off x="3905233" y="4922854"/>
            <a:ext cx="8286767" cy="513089"/>
          </a:xfrm>
          <a:custGeom>
            <a:avLst/>
            <a:gdLst>
              <a:gd name="connsiteX0" fmla="*/ 4615 w 8286767"/>
              <a:gd name="connsiteY0" fmla="*/ 0 h 513089"/>
              <a:gd name="connsiteX1" fmla="*/ 30056 w 8286767"/>
              <a:gd name="connsiteY1" fmla="*/ 0 h 513089"/>
              <a:gd name="connsiteX2" fmla="*/ 27385 w 8286767"/>
              <a:gd name="connsiteY2" fmla="*/ 5967 h 513089"/>
              <a:gd name="connsiteX3" fmla="*/ 12690 w 8286767"/>
              <a:gd name="connsiteY3" fmla="*/ 120958 h 513089"/>
              <a:gd name="connsiteX4" fmla="*/ 12690 w 8286767"/>
              <a:gd name="connsiteY4" fmla="*/ 134918 h 513089"/>
              <a:gd name="connsiteX5" fmla="*/ 368018 w 8286767"/>
              <a:gd name="connsiteY5" fmla="*/ 488977 h 513089"/>
              <a:gd name="connsiteX6" fmla="*/ 8286767 w 8286767"/>
              <a:gd name="connsiteY6" fmla="*/ 488977 h 513089"/>
              <a:gd name="connsiteX7" fmla="*/ 8286767 w 8286767"/>
              <a:gd name="connsiteY7" fmla="*/ 513089 h 513089"/>
              <a:gd name="connsiteX8" fmla="*/ 368018 w 8286767"/>
              <a:gd name="connsiteY8" fmla="*/ 513089 h 513089"/>
              <a:gd name="connsiteX9" fmla="*/ 0 w 8286767"/>
              <a:gd name="connsiteY9" fmla="*/ 225019 h 513089"/>
              <a:gd name="connsiteX10" fmla="*/ 0 w 8286767"/>
              <a:gd name="connsiteY10" fmla="*/ 11822 h 513089"/>
              <a:gd name="connsiteX11" fmla="*/ 4615 w 8286767"/>
              <a:gd name="connsiteY11" fmla="*/ 0 h 513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286767" h="513089">
                <a:moveTo>
                  <a:pt x="4615" y="0"/>
                </a:moveTo>
                <a:lnTo>
                  <a:pt x="30056" y="0"/>
                </a:lnTo>
                <a:lnTo>
                  <a:pt x="27385" y="5967"/>
                </a:lnTo>
                <a:cubicBezTo>
                  <a:pt x="18024" y="39383"/>
                  <a:pt x="12690" y="77494"/>
                  <a:pt x="12690" y="120958"/>
                </a:cubicBezTo>
                <a:lnTo>
                  <a:pt x="12690" y="134918"/>
                </a:lnTo>
                <a:cubicBezTo>
                  <a:pt x="12690" y="150146"/>
                  <a:pt x="17766" y="488977"/>
                  <a:pt x="368018" y="488977"/>
                </a:cubicBezTo>
                <a:lnTo>
                  <a:pt x="8286767" y="488977"/>
                </a:lnTo>
                <a:lnTo>
                  <a:pt x="8286767" y="513089"/>
                </a:lnTo>
                <a:lnTo>
                  <a:pt x="368018" y="513089"/>
                </a:lnTo>
                <a:cubicBezTo>
                  <a:pt x="110405" y="513089"/>
                  <a:pt x="26649" y="336694"/>
                  <a:pt x="0" y="225019"/>
                </a:cubicBezTo>
                <a:lnTo>
                  <a:pt x="0" y="11822"/>
                </a:lnTo>
                <a:lnTo>
                  <a:pt x="4615" y="0"/>
                </a:lnTo>
                <a:close/>
              </a:path>
            </a:pathLst>
          </a:custGeom>
          <a:solidFill>
            <a:schemeClr val="bg1"/>
          </a:solidFill>
          <a:ln w="1269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EF9C60-0FED-4965-A9BC-CE69886A3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MM.DD.20XX</a:t>
            </a:r>
            <a:endParaRPr lang="ru-RU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9F2410-4015-48DB-BB4D-B5944D8C1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  <a:endParaRPr lang="ru-RU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44F5F26-1B35-405A-AD75-5DFF48CF6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6994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 userDrawn="1"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D7B996D2-06BA-413A-BDEE-428A188D3A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E5109FC-8CB6-4120-99CF-163DDAB90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050518" cy="945498"/>
          </a:xfrm>
        </p:spPr>
        <p:txBody>
          <a:bodyPr/>
          <a:lstStyle/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20" name="Graphic 19">
            <a:extLst>
              <a:ext uri="{FF2B5EF4-FFF2-40B4-BE49-F238E27FC236}">
                <a16:creationId xmlns:a16="http://schemas.microsoft.com/office/drawing/2014/main" id="{9462DA56-F882-470A-8F8C-A55B25FD8A7A}"/>
              </a:ext>
            </a:extLst>
          </p:cNvPr>
          <p:cNvSpPr/>
          <p:nvPr userDrawn="1"/>
        </p:nvSpPr>
        <p:spPr>
          <a:xfrm>
            <a:off x="838200" y="1492524"/>
            <a:ext cx="6153912" cy="151200"/>
          </a:xfrm>
          <a:custGeom>
            <a:avLst/>
            <a:gdLst>
              <a:gd name="connsiteX0" fmla="*/ 4568666 w 4629150"/>
              <a:gd name="connsiteY0" fmla="*/ 118586 h 123825"/>
              <a:gd name="connsiteX1" fmla="*/ 62389 w 4629150"/>
              <a:gd name="connsiteY1" fmla="*/ 118586 h 123825"/>
              <a:gd name="connsiteX2" fmla="*/ 7144 w 4629150"/>
              <a:gd name="connsiteY2" fmla="*/ 62389 h 123825"/>
              <a:gd name="connsiteX3" fmla="*/ 7144 w 4629150"/>
              <a:gd name="connsiteY3" fmla="*/ 62389 h 123825"/>
              <a:gd name="connsiteX4" fmla="*/ 62389 w 4629150"/>
              <a:gd name="connsiteY4" fmla="*/ 7144 h 123825"/>
              <a:gd name="connsiteX5" fmla="*/ 4568666 w 4629150"/>
              <a:gd name="connsiteY5" fmla="*/ 7144 h 123825"/>
              <a:gd name="connsiteX6" fmla="*/ 4623912 w 4629150"/>
              <a:gd name="connsiteY6" fmla="*/ 62389 h 123825"/>
              <a:gd name="connsiteX7" fmla="*/ 4623912 w 4629150"/>
              <a:gd name="connsiteY7" fmla="*/ 62389 h 123825"/>
              <a:gd name="connsiteX8" fmla="*/ 4568666 w 4629150"/>
              <a:gd name="connsiteY8" fmla="*/ 118586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9150" h="123825">
                <a:moveTo>
                  <a:pt x="4568666" y="118586"/>
                </a:moveTo>
                <a:lnTo>
                  <a:pt x="62389" y="118586"/>
                </a:lnTo>
                <a:cubicBezTo>
                  <a:pt x="31909" y="118586"/>
                  <a:pt x="7144" y="92869"/>
                  <a:pt x="7144" y="62389"/>
                </a:cubicBezTo>
                <a:lnTo>
                  <a:pt x="7144" y="62389"/>
                </a:lnTo>
                <a:cubicBezTo>
                  <a:pt x="7144" y="31909"/>
                  <a:pt x="31909" y="7144"/>
                  <a:pt x="62389" y="7144"/>
                </a:cubicBezTo>
                <a:lnTo>
                  <a:pt x="4568666" y="7144"/>
                </a:lnTo>
                <a:cubicBezTo>
                  <a:pt x="4599147" y="7144"/>
                  <a:pt x="4623912" y="31909"/>
                  <a:pt x="4623912" y="62389"/>
                </a:cubicBezTo>
                <a:lnTo>
                  <a:pt x="4623912" y="62389"/>
                </a:lnTo>
                <a:cubicBezTo>
                  <a:pt x="4623912" y="92869"/>
                  <a:pt x="4599147" y="118586"/>
                  <a:pt x="4568666" y="1185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17065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 userDrawn="1"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E5109FC-8CB6-4120-99CF-163DDAB90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050518" cy="945498"/>
          </a:xfrm>
        </p:spPr>
        <p:txBody>
          <a:bodyPr/>
          <a:lstStyle/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20" name="Graphic 19">
            <a:extLst>
              <a:ext uri="{FF2B5EF4-FFF2-40B4-BE49-F238E27FC236}">
                <a16:creationId xmlns:a16="http://schemas.microsoft.com/office/drawing/2014/main" id="{9462DA56-F882-470A-8F8C-A55B25FD8A7A}"/>
              </a:ext>
            </a:extLst>
          </p:cNvPr>
          <p:cNvSpPr/>
          <p:nvPr userDrawn="1"/>
        </p:nvSpPr>
        <p:spPr>
          <a:xfrm>
            <a:off x="838200" y="1492524"/>
            <a:ext cx="6153912" cy="151200"/>
          </a:xfrm>
          <a:custGeom>
            <a:avLst/>
            <a:gdLst>
              <a:gd name="connsiteX0" fmla="*/ 4568666 w 4629150"/>
              <a:gd name="connsiteY0" fmla="*/ 118586 h 123825"/>
              <a:gd name="connsiteX1" fmla="*/ 62389 w 4629150"/>
              <a:gd name="connsiteY1" fmla="*/ 118586 h 123825"/>
              <a:gd name="connsiteX2" fmla="*/ 7144 w 4629150"/>
              <a:gd name="connsiteY2" fmla="*/ 62389 h 123825"/>
              <a:gd name="connsiteX3" fmla="*/ 7144 w 4629150"/>
              <a:gd name="connsiteY3" fmla="*/ 62389 h 123825"/>
              <a:gd name="connsiteX4" fmla="*/ 62389 w 4629150"/>
              <a:gd name="connsiteY4" fmla="*/ 7144 h 123825"/>
              <a:gd name="connsiteX5" fmla="*/ 4568666 w 4629150"/>
              <a:gd name="connsiteY5" fmla="*/ 7144 h 123825"/>
              <a:gd name="connsiteX6" fmla="*/ 4623912 w 4629150"/>
              <a:gd name="connsiteY6" fmla="*/ 62389 h 123825"/>
              <a:gd name="connsiteX7" fmla="*/ 4623912 w 4629150"/>
              <a:gd name="connsiteY7" fmla="*/ 62389 h 123825"/>
              <a:gd name="connsiteX8" fmla="*/ 4568666 w 4629150"/>
              <a:gd name="connsiteY8" fmla="*/ 118586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9150" h="123825">
                <a:moveTo>
                  <a:pt x="4568666" y="118586"/>
                </a:moveTo>
                <a:lnTo>
                  <a:pt x="62389" y="118586"/>
                </a:lnTo>
                <a:cubicBezTo>
                  <a:pt x="31909" y="118586"/>
                  <a:pt x="7144" y="92869"/>
                  <a:pt x="7144" y="62389"/>
                </a:cubicBezTo>
                <a:lnTo>
                  <a:pt x="7144" y="62389"/>
                </a:lnTo>
                <a:cubicBezTo>
                  <a:pt x="7144" y="31909"/>
                  <a:pt x="31909" y="7144"/>
                  <a:pt x="62389" y="7144"/>
                </a:cubicBezTo>
                <a:lnTo>
                  <a:pt x="4568666" y="7144"/>
                </a:lnTo>
                <a:cubicBezTo>
                  <a:pt x="4599147" y="7144"/>
                  <a:pt x="4623912" y="31909"/>
                  <a:pt x="4623912" y="62389"/>
                </a:cubicBezTo>
                <a:lnTo>
                  <a:pt x="4623912" y="62389"/>
                </a:lnTo>
                <a:cubicBezTo>
                  <a:pt x="4623912" y="92869"/>
                  <a:pt x="4599147" y="118586"/>
                  <a:pt x="4568666" y="1185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4B91177-A100-491C-B5EF-BC77E2E33F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25624"/>
            <a:ext cx="5157787" cy="421084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6758D2F-C9AC-4514-B48E-2863E8DDE0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323458"/>
            <a:ext cx="5157787" cy="3387547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33C3A9F-17E4-45DF-8DB7-7A55846AAA8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28800"/>
            <a:ext cx="5183188" cy="417908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C19AB308-7C32-46C9-B8DB-AA96B7ED0D6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23458"/>
            <a:ext cx="5183188" cy="3387547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162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 userDrawn="1"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E5109FC-8CB6-4120-99CF-163DDAB90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050518" cy="945498"/>
          </a:xfrm>
        </p:spPr>
        <p:txBody>
          <a:bodyPr/>
          <a:lstStyle/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20" name="Graphic 19">
            <a:extLst>
              <a:ext uri="{FF2B5EF4-FFF2-40B4-BE49-F238E27FC236}">
                <a16:creationId xmlns:a16="http://schemas.microsoft.com/office/drawing/2014/main" id="{9462DA56-F882-470A-8F8C-A55B25FD8A7A}"/>
              </a:ext>
            </a:extLst>
          </p:cNvPr>
          <p:cNvSpPr/>
          <p:nvPr userDrawn="1"/>
        </p:nvSpPr>
        <p:spPr>
          <a:xfrm>
            <a:off x="838200" y="1492524"/>
            <a:ext cx="6153912" cy="151200"/>
          </a:xfrm>
          <a:custGeom>
            <a:avLst/>
            <a:gdLst>
              <a:gd name="connsiteX0" fmla="*/ 4568666 w 4629150"/>
              <a:gd name="connsiteY0" fmla="*/ 118586 h 123825"/>
              <a:gd name="connsiteX1" fmla="*/ 62389 w 4629150"/>
              <a:gd name="connsiteY1" fmla="*/ 118586 h 123825"/>
              <a:gd name="connsiteX2" fmla="*/ 7144 w 4629150"/>
              <a:gd name="connsiteY2" fmla="*/ 62389 h 123825"/>
              <a:gd name="connsiteX3" fmla="*/ 7144 w 4629150"/>
              <a:gd name="connsiteY3" fmla="*/ 62389 h 123825"/>
              <a:gd name="connsiteX4" fmla="*/ 62389 w 4629150"/>
              <a:gd name="connsiteY4" fmla="*/ 7144 h 123825"/>
              <a:gd name="connsiteX5" fmla="*/ 4568666 w 4629150"/>
              <a:gd name="connsiteY5" fmla="*/ 7144 h 123825"/>
              <a:gd name="connsiteX6" fmla="*/ 4623912 w 4629150"/>
              <a:gd name="connsiteY6" fmla="*/ 62389 h 123825"/>
              <a:gd name="connsiteX7" fmla="*/ 4623912 w 4629150"/>
              <a:gd name="connsiteY7" fmla="*/ 62389 h 123825"/>
              <a:gd name="connsiteX8" fmla="*/ 4568666 w 4629150"/>
              <a:gd name="connsiteY8" fmla="*/ 118586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9150" h="123825">
                <a:moveTo>
                  <a:pt x="4568666" y="118586"/>
                </a:moveTo>
                <a:lnTo>
                  <a:pt x="62389" y="118586"/>
                </a:lnTo>
                <a:cubicBezTo>
                  <a:pt x="31909" y="118586"/>
                  <a:pt x="7144" y="92869"/>
                  <a:pt x="7144" y="62389"/>
                </a:cubicBezTo>
                <a:lnTo>
                  <a:pt x="7144" y="62389"/>
                </a:lnTo>
                <a:cubicBezTo>
                  <a:pt x="7144" y="31909"/>
                  <a:pt x="31909" y="7144"/>
                  <a:pt x="62389" y="7144"/>
                </a:cubicBezTo>
                <a:lnTo>
                  <a:pt x="4568666" y="7144"/>
                </a:lnTo>
                <a:cubicBezTo>
                  <a:pt x="4599147" y="7144"/>
                  <a:pt x="4623912" y="31909"/>
                  <a:pt x="4623912" y="62389"/>
                </a:cubicBezTo>
                <a:lnTo>
                  <a:pt x="4623912" y="62389"/>
                </a:lnTo>
                <a:cubicBezTo>
                  <a:pt x="4623912" y="92869"/>
                  <a:pt x="4599147" y="118586"/>
                  <a:pt x="4568666" y="1185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D5AE8A8-E027-4529-A5B7-4D355C71E6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88538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FB3E4803-F2CA-4138-9997-6108BFDFE7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8110" y="1825624"/>
            <a:ext cx="5181600" cy="3929249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852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C0227-C3C8-40EC-A695-61CAAE119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FE5533-0948-4A64-8046-C6D488E0B4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409DFD-7824-419F-B7C3-DC42BAE6E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A18D3-CC26-427D-BCA6-4320C6C07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501C6F-BE8E-4A9A-A2F8-059D931B7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15548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8E328517-DD21-40E0-B948-B25B366BDE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775856" y="532519"/>
            <a:ext cx="6416144" cy="4534825"/>
          </a:xfrm>
          <a:custGeom>
            <a:avLst/>
            <a:gdLst>
              <a:gd name="connsiteX0" fmla="*/ 2868981 w 6416144"/>
              <a:gd name="connsiteY0" fmla="*/ 4534824 h 4534825"/>
              <a:gd name="connsiteX1" fmla="*/ 6408833 w 6416144"/>
              <a:gd name="connsiteY1" fmla="*/ 4534824 h 4534825"/>
              <a:gd name="connsiteX2" fmla="*/ 6408833 w 6416144"/>
              <a:gd name="connsiteY2" fmla="*/ 4534825 h 4534825"/>
              <a:gd name="connsiteX3" fmla="*/ 2868981 w 6416144"/>
              <a:gd name="connsiteY3" fmla="*/ 4534825 h 4534825"/>
              <a:gd name="connsiteX4" fmla="*/ 4642500 w 6416144"/>
              <a:gd name="connsiteY4" fmla="*/ 3896784 h 4534825"/>
              <a:gd name="connsiteX5" fmla="*/ 4642501 w 6416144"/>
              <a:gd name="connsiteY5" fmla="*/ 3896784 h 4534825"/>
              <a:gd name="connsiteX6" fmla="*/ 4642605 w 6416144"/>
              <a:gd name="connsiteY6" fmla="*/ 3899015 h 4534825"/>
              <a:gd name="connsiteX7" fmla="*/ 4905429 w 6416144"/>
              <a:gd name="connsiteY7" fmla="*/ 4145635 h 4534825"/>
              <a:gd name="connsiteX8" fmla="*/ 4905428 w 6416144"/>
              <a:gd name="connsiteY8" fmla="*/ 4145635 h 4534825"/>
              <a:gd name="connsiteX9" fmla="*/ 4642604 w 6416144"/>
              <a:gd name="connsiteY9" fmla="*/ 3899015 h 4534825"/>
              <a:gd name="connsiteX10" fmla="*/ 6416144 w 6416144"/>
              <a:gd name="connsiteY10" fmla="*/ 0 h 4534825"/>
              <a:gd name="connsiteX11" fmla="*/ 6416144 w 6416144"/>
              <a:gd name="connsiteY11" fmla="*/ 233966 h 4534825"/>
              <a:gd name="connsiteX12" fmla="*/ 5581177 w 6416144"/>
              <a:gd name="connsiteY12" fmla="*/ 233966 h 4534825"/>
              <a:gd name="connsiteX13" fmla="*/ 5317839 w 6416144"/>
              <a:gd name="connsiteY13" fmla="*/ 428980 h 4534825"/>
              <a:gd name="connsiteX14" fmla="*/ 5317839 w 6416144"/>
              <a:gd name="connsiteY14" fmla="*/ 436628 h 4534825"/>
              <a:gd name="connsiteX15" fmla="*/ 5581177 w 6416144"/>
              <a:gd name="connsiteY15" fmla="*/ 631642 h 4534825"/>
              <a:gd name="connsiteX16" fmla="*/ 6416144 w 6416144"/>
              <a:gd name="connsiteY16" fmla="*/ 631642 h 4534825"/>
              <a:gd name="connsiteX17" fmla="*/ 6416144 w 6416144"/>
              <a:gd name="connsiteY17" fmla="*/ 4534824 h 4534825"/>
              <a:gd name="connsiteX18" fmla="*/ 6408833 w 6416144"/>
              <a:gd name="connsiteY18" fmla="*/ 4534824 h 4534825"/>
              <a:gd name="connsiteX19" fmla="*/ 6408833 w 6416144"/>
              <a:gd name="connsiteY19" fmla="*/ 4145635 h 4534825"/>
              <a:gd name="connsiteX20" fmla="*/ 6412028 w 6416144"/>
              <a:gd name="connsiteY20" fmla="*/ 4145635 h 4534825"/>
              <a:gd name="connsiteX21" fmla="*/ 6412028 w 6416144"/>
              <a:gd name="connsiteY21" fmla="*/ 3620144 h 4534825"/>
              <a:gd name="connsiteX22" fmla="*/ 4905428 w 6416144"/>
              <a:gd name="connsiteY22" fmla="*/ 3620144 h 4534825"/>
              <a:gd name="connsiteX23" fmla="*/ 4642090 w 6416144"/>
              <a:gd name="connsiteY23" fmla="*/ 3877837 h 4534825"/>
              <a:gd name="connsiteX24" fmla="*/ 4642090 w 6416144"/>
              <a:gd name="connsiteY24" fmla="*/ 3887942 h 4534825"/>
              <a:gd name="connsiteX25" fmla="*/ 4642500 w 6416144"/>
              <a:gd name="connsiteY25" fmla="*/ 3896784 h 4534825"/>
              <a:gd name="connsiteX26" fmla="*/ 3281687 w 6416144"/>
              <a:gd name="connsiteY26" fmla="*/ 3896784 h 4534825"/>
              <a:gd name="connsiteX27" fmla="*/ 2832240 w 6416144"/>
              <a:gd name="connsiteY27" fmla="*/ 4343957 h 4534825"/>
              <a:gd name="connsiteX28" fmla="*/ 2832240 w 6416144"/>
              <a:gd name="connsiteY28" fmla="*/ 4360378 h 4534825"/>
              <a:gd name="connsiteX29" fmla="*/ 2855942 w 6416144"/>
              <a:gd name="connsiteY29" fmla="*/ 4501866 h 4534825"/>
              <a:gd name="connsiteX30" fmla="*/ 2868981 w 6416144"/>
              <a:gd name="connsiteY30" fmla="*/ 4534824 h 4534825"/>
              <a:gd name="connsiteX31" fmla="*/ 1415799 w 6416144"/>
              <a:gd name="connsiteY31" fmla="*/ 4534824 h 4534825"/>
              <a:gd name="connsiteX32" fmla="*/ 1316204 w 6416144"/>
              <a:gd name="connsiteY32" fmla="*/ 4515398 h 4534825"/>
              <a:gd name="connsiteX33" fmla="*/ 1033 w 6416144"/>
              <a:gd name="connsiteY33" fmla="*/ 2292638 h 4534825"/>
              <a:gd name="connsiteX34" fmla="*/ 1594209 w 6416144"/>
              <a:gd name="connsiteY34" fmla="*/ 23854 h 4534825"/>
              <a:gd name="connsiteX35" fmla="*/ 1554064 w 6416144"/>
              <a:gd name="connsiteY35" fmla="*/ 11750 h 453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416144" h="4534825">
                <a:moveTo>
                  <a:pt x="2868981" y="4534824"/>
                </a:moveTo>
                <a:lnTo>
                  <a:pt x="6408833" y="4534824"/>
                </a:lnTo>
                <a:lnTo>
                  <a:pt x="6408833" y="4534825"/>
                </a:lnTo>
                <a:lnTo>
                  <a:pt x="2868981" y="4534825"/>
                </a:lnTo>
                <a:close/>
                <a:moveTo>
                  <a:pt x="4642500" y="3896784"/>
                </a:moveTo>
                <a:lnTo>
                  <a:pt x="4642501" y="3896784"/>
                </a:lnTo>
                <a:lnTo>
                  <a:pt x="4642605" y="3899015"/>
                </a:lnTo>
                <a:cubicBezTo>
                  <a:pt x="4646206" y="3948339"/>
                  <a:pt x="4675008" y="4145635"/>
                  <a:pt x="4905429" y="4145635"/>
                </a:cubicBezTo>
                <a:lnTo>
                  <a:pt x="4905428" y="4145635"/>
                </a:lnTo>
                <a:cubicBezTo>
                  <a:pt x="4675007" y="4145635"/>
                  <a:pt x="4646205" y="3948339"/>
                  <a:pt x="4642604" y="3899015"/>
                </a:cubicBezTo>
                <a:close/>
                <a:moveTo>
                  <a:pt x="6416144" y="0"/>
                </a:moveTo>
                <a:lnTo>
                  <a:pt x="6416144" y="233966"/>
                </a:lnTo>
                <a:lnTo>
                  <a:pt x="5581177" y="233966"/>
                </a:lnTo>
                <a:cubicBezTo>
                  <a:pt x="5581177" y="233966"/>
                  <a:pt x="5317839" y="233966"/>
                  <a:pt x="5317839" y="428980"/>
                </a:cubicBezTo>
                <a:lnTo>
                  <a:pt x="5317839" y="436628"/>
                </a:lnTo>
                <a:cubicBezTo>
                  <a:pt x="5317839" y="436628"/>
                  <a:pt x="5317839" y="631642"/>
                  <a:pt x="5581177" y="631642"/>
                </a:cubicBezTo>
                <a:lnTo>
                  <a:pt x="6416144" y="631642"/>
                </a:lnTo>
                <a:lnTo>
                  <a:pt x="6416144" y="4534824"/>
                </a:lnTo>
                <a:lnTo>
                  <a:pt x="6408833" y="4534824"/>
                </a:lnTo>
                <a:lnTo>
                  <a:pt x="6408833" y="4145635"/>
                </a:lnTo>
                <a:lnTo>
                  <a:pt x="6412028" y="4145635"/>
                </a:lnTo>
                <a:lnTo>
                  <a:pt x="6412028" y="3620144"/>
                </a:lnTo>
                <a:lnTo>
                  <a:pt x="4905428" y="3620144"/>
                </a:lnTo>
                <a:cubicBezTo>
                  <a:pt x="4905428" y="3620144"/>
                  <a:pt x="4642090" y="3620144"/>
                  <a:pt x="4642090" y="3877837"/>
                </a:cubicBezTo>
                <a:lnTo>
                  <a:pt x="4642090" y="3887942"/>
                </a:lnTo>
                <a:lnTo>
                  <a:pt x="4642500" y="3896784"/>
                </a:lnTo>
                <a:lnTo>
                  <a:pt x="3281687" y="3896784"/>
                </a:lnTo>
                <a:cubicBezTo>
                  <a:pt x="3281687" y="3896784"/>
                  <a:pt x="2832240" y="3896784"/>
                  <a:pt x="2832240" y="4343957"/>
                </a:cubicBezTo>
                <a:lnTo>
                  <a:pt x="2832240" y="4360378"/>
                </a:lnTo>
                <a:cubicBezTo>
                  <a:pt x="2832240" y="4360378"/>
                  <a:pt x="2832240" y="4423262"/>
                  <a:pt x="2855942" y="4501866"/>
                </a:cubicBezTo>
                <a:lnTo>
                  <a:pt x="2868981" y="4534824"/>
                </a:lnTo>
                <a:lnTo>
                  <a:pt x="1415799" y="4534824"/>
                </a:lnTo>
                <a:lnTo>
                  <a:pt x="1316204" y="4515398"/>
                </a:lnTo>
                <a:cubicBezTo>
                  <a:pt x="682558" y="4348152"/>
                  <a:pt x="32583" y="3566545"/>
                  <a:pt x="1033" y="2292638"/>
                </a:cubicBezTo>
                <a:cubicBezTo>
                  <a:pt x="-35023" y="836743"/>
                  <a:pt x="880886" y="23854"/>
                  <a:pt x="1594209" y="23854"/>
                </a:cubicBezTo>
                <a:cubicBezTo>
                  <a:pt x="1590120" y="19819"/>
                  <a:pt x="1558153" y="15785"/>
                  <a:pt x="1554064" y="1175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Click icon to add picture</a:t>
            </a:r>
            <a:endParaRPr lang="en-US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BC6DBB9-1B34-4374-A887-DC30F9E2F62F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Graphic 12">
            <a:extLst>
              <a:ext uri="{FF2B5EF4-FFF2-40B4-BE49-F238E27FC236}">
                <a16:creationId xmlns:a16="http://schemas.microsoft.com/office/drawing/2014/main" id="{00DE0AE3-F44D-4F2C-B7A3-C253AA498DEF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F89F8-3E24-406D-9C49-00E6E47E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2DBDA-ED00-4248-AC6D-0CE0B821B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908793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B5F97-2F18-4EF2-9CBC-AAAB9FF4C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6C05708-08C7-4EF1-B0D8-6A01C1B1AD85}"/>
              </a:ext>
            </a:extLst>
          </p:cNvPr>
          <p:cNvSpPr/>
          <p:nvPr userDrawn="1"/>
        </p:nvSpPr>
        <p:spPr>
          <a:xfrm>
            <a:off x="10413777" y="4433244"/>
            <a:ext cx="1782599" cy="30316"/>
          </a:xfrm>
          <a:custGeom>
            <a:avLst/>
            <a:gdLst>
              <a:gd name="connsiteX0" fmla="*/ 0 w 1782599"/>
              <a:gd name="connsiteY0" fmla="*/ 0 h 30316"/>
              <a:gd name="connsiteX1" fmla="*/ 1782599 w 1782599"/>
              <a:gd name="connsiteY1" fmla="*/ 0 h 30316"/>
              <a:gd name="connsiteX2" fmla="*/ 1782599 w 1782599"/>
              <a:gd name="connsiteY2" fmla="*/ 30316 h 30316"/>
              <a:gd name="connsiteX3" fmla="*/ 2488 w 1782599"/>
              <a:gd name="connsiteY3" fmla="*/ 30316 h 30316"/>
              <a:gd name="connsiteX4" fmla="*/ 643 w 1782599"/>
              <a:gd name="connsiteY4" fmla="*/ 16129 h 30316"/>
              <a:gd name="connsiteX5" fmla="*/ 0 w 1782599"/>
              <a:gd name="connsiteY5" fmla="*/ 3788 h 30316"/>
              <a:gd name="connsiteX6" fmla="*/ 0 w 1782599"/>
              <a:gd name="connsiteY6" fmla="*/ 0 h 30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2599" h="30316">
                <a:moveTo>
                  <a:pt x="0" y="0"/>
                </a:moveTo>
                <a:lnTo>
                  <a:pt x="1782599" y="0"/>
                </a:lnTo>
                <a:lnTo>
                  <a:pt x="1782599" y="30316"/>
                </a:lnTo>
                <a:lnTo>
                  <a:pt x="2488" y="30316"/>
                </a:lnTo>
                <a:lnTo>
                  <a:pt x="643" y="16129"/>
                </a:lnTo>
                <a:cubicBezTo>
                  <a:pt x="40" y="8565"/>
                  <a:pt x="0" y="4104"/>
                  <a:pt x="0" y="378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3" name="Graphic 33">
            <a:extLst>
              <a:ext uri="{FF2B5EF4-FFF2-40B4-BE49-F238E27FC236}">
                <a16:creationId xmlns:a16="http://schemas.microsoft.com/office/drawing/2014/main" id="{38956B41-4EE0-4C7C-8436-027F5DE8B1BC}"/>
              </a:ext>
            </a:extLst>
          </p:cNvPr>
          <p:cNvSpPr/>
          <p:nvPr userDrawn="1"/>
        </p:nvSpPr>
        <p:spPr>
          <a:xfrm>
            <a:off x="887582" y="2045662"/>
            <a:ext cx="3785313" cy="165305"/>
          </a:xfrm>
          <a:custGeom>
            <a:avLst/>
            <a:gdLst>
              <a:gd name="connsiteX0" fmla="*/ 3700149 w 3785313"/>
              <a:gd name="connsiteY0" fmla="*/ 162194 h 165304"/>
              <a:gd name="connsiteX1" fmla="*/ 92020 w 3785313"/>
              <a:gd name="connsiteY1" fmla="*/ 162194 h 165304"/>
              <a:gd name="connsiteX2" fmla="*/ 14166 w 3785313"/>
              <a:gd name="connsiteY2" fmla="*/ 87171 h 165304"/>
              <a:gd name="connsiteX3" fmla="*/ 14166 w 3785313"/>
              <a:gd name="connsiteY3" fmla="*/ 87171 h 165304"/>
              <a:gd name="connsiteX4" fmla="*/ 92020 w 3785313"/>
              <a:gd name="connsiteY4" fmla="*/ 13420 h 165304"/>
              <a:gd name="connsiteX5" fmla="*/ 3698806 w 3785313"/>
              <a:gd name="connsiteY5" fmla="*/ 13420 h 165304"/>
              <a:gd name="connsiteX6" fmla="*/ 3776660 w 3785313"/>
              <a:gd name="connsiteY6" fmla="*/ 87171 h 165304"/>
              <a:gd name="connsiteX7" fmla="*/ 3776660 w 3785313"/>
              <a:gd name="connsiteY7" fmla="*/ 87171 h 165304"/>
              <a:gd name="connsiteX8" fmla="*/ 3700149 w 3785313"/>
              <a:gd name="connsiteY8" fmla="*/ 162194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5313" h="165304">
                <a:moveTo>
                  <a:pt x="3700149" y="162194"/>
                </a:moveTo>
                <a:lnTo>
                  <a:pt x="92020" y="162194"/>
                </a:lnTo>
                <a:cubicBezTo>
                  <a:pt x="49066" y="162194"/>
                  <a:pt x="14166" y="127861"/>
                  <a:pt x="14166" y="87171"/>
                </a:cubicBezTo>
                <a:lnTo>
                  <a:pt x="14166" y="87171"/>
                </a:lnTo>
                <a:cubicBezTo>
                  <a:pt x="14166" y="46481"/>
                  <a:pt x="49066" y="13420"/>
                  <a:pt x="92020" y="13420"/>
                </a:cubicBezTo>
                <a:lnTo>
                  <a:pt x="3698806" y="13420"/>
                </a:lnTo>
                <a:cubicBezTo>
                  <a:pt x="3741760" y="13420"/>
                  <a:pt x="3776660" y="46481"/>
                  <a:pt x="3776660" y="87171"/>
                </a:cubicBezTo>
                <a:lnTo>
                  <a:pt x="3776660" y="87171"/>
                </a:lnTo>
                <a:cubicBezTo>
                  <a:pt x="3778002" y="127861"/>
                  <a:pt x="3743102" y="162194"/>
                  <a:pt x="3700149" y="16219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340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08687FC-7322-4F20-9769-1ECF4296A96E}"/>
              </a:ext>
            </a:extLst>
          </p:cNvPr>
          <p:cNvSpPr/>
          <p:nvPr userDrawn="1"/>
        </p:nvSpPr>
        <p:spPr>
          <a:xfrm>
            <a:off x="10416941" y="4161024"/>
            <a:ext cx="1785131" cy="543175"/>
          </a:xfrm>
          <a:custGeom>
            <a:avLst/>
            <a:gdLst>
              <a:gd name="connsiteX0" fmla="*/ 1338739 w 1343025"/>
              <a:gd name="connsiteY0" fmla="*/ 7144 h 409575"/>
              <a:gd name="connsiteX1" fmla="*/ 205264 w 1343025"/>
              <a:gd name="connsiteY1" fmla="*/ 7144 h 409575"/>
              <a:gd name="connsiteX2" fmla="*/ 7144 w 1343025"/>
              <a:gd name="connsiteY2" fmla="*/ 201454 h 409575"/>
              <a:gd name="connsiteX3" fmla="*/ 7144 w 1343025"/>
              <a:gd name="connsiteY3" fmla="*/ 209074 h 409575"/>
              <a:gd name="connsiteX4" fmla="*/ 205264 w 1343025"/>
              <a:gd name="connsiteY4" fmla="*/ 403384 h 409575"/>
              <a:gd name="connsiteX5" fmla="*/ 1338739 w 1343025"/>
              <a:gd name="connsiteY5" fmla="*/ 403384 h 409575"/>
              <a:gd name="connsiteX6" fmla="*/ 1338739 w 1343025"/>
              <a:gd name="connsiteY6" fmla="*/ 7144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025" h="409575">
                <a:moveTo>
                  <a:pt x="1338739" y="7144"/>
                </a:moveTo>
                <a:lnTo>
                  <a:pt x="205264" y="7144"/>
                </a:lnTo>
                <a:cubicBezTo>
                  <a:pt x="205264" y="7144"/>
                  <a:pt x="7144" y="7144"/>
                  <a:pt x="7144" y="201454"/>
                </a:cubicBezTo>
                <a:lnTo>
                  <a:pt x="7144" y="209074"/>
                </a:lnTo>
                <a:cubicBezTo>
                  <a:pt x="7144" y="209074"/>
                  <a:pt x="7144" y="403384"/>
                  <a:pt x="205264" y="403384"/>
                </a:cubicBezTo>
                <a:lnTo>
                  <a:pt x="1338739" y="403384"/>
                </a:lnTo>
                <a:lnTo>
                  <a:pt x="1338739" y="714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0FCCDE26-7222-4C1B-884A-0FAE84FA57DB}"/>
              </a:ext>
            </a:extLst>
          </p:cNvPr>
          <p:cNvSpPr/>
          <p:nvPr userDrawn="1"/>
        </p:nvSpPr>
        <p:spPr>
          <a:xfrm>
            <a:off x="8607090" y="4437664"/>
            <a:ext cx="3595584" cy="922135"/>
          </a:xfrm>
          <a:custGeom>
            <a:avLst/>
            <a:gdLst>
              <a:gd name="connsiteX0" fmla="*/ 2697957 w 2705100"/>
              <a:gd name="connsiteY0" fmla="*/ 7144 h 695325"/>
              <a:gd name="connsiteX1" fmla="*/ 345281 w 2705100"/>
              <a:gd name="connsiteY1" fmla="*/ 7144 h 695325"/>
              <a:gd name="connsiteX2" fmla="*/ 7144 w 2705100"/>
              <a:gd name="connsiteY2" fmla="*/ 344329 h 695325"/>
              <a:gd name="connsiteX3" fmla="*/ 7144 w 2705100"/>
              <a:gd name="connsiteY3" fmla="*/ 356711 h 695325"/>
              <a:gd name="connsiteX4" fmla="*/ 345281 w 2705100"/>
              <a:gd name="connsiteY4" fmla="*/ 693896 h 695325"/>
              <a:gd name="connsiteX5" fmla="*/ 2697957 w 2705100"/>
              <a:gd name="connsiteY5" fmla="*/ 693896 h 695325"/>
              <a:gd name="connsiteX6" fmla="*/ 2697957 w 2705100"/>
              <a:gd name="connsiteY6" fmla="*/ 7144 h 69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05100" h="695325">
                <a:moveTo>
                  <a:pt x="2697957" y="7144"/>
                </a:moveTo>
                <a:lnTo>
                  <a:pt x="345281" y="7144"/>
                </a:lnTo>
                <a:cubicBezTo>
                  <a:pt x="345281" y="7144"/>
                  <a:pt x="7144" y="7144"/>
                  <a:pt x="7144" y="344329"/>
                </a:cubicBezTo>
                <a:lnTo>
                  <a:pt x="7144" y="356711"/>
                </a:lnTo>
                <a:cubicBezTo>
                  <a:pt x="7144" y="356711"/>
                  <a:pt x="7144" y="693896"/>
                  <a:pt x="345281" y="693896"/>
                </a:cubicBezTo>
                <a:lnTo>
                  <a:pt x="2697957" y="693896"/>
                </a:lnTo>
                <a:lnTo>
                  <a:pt x="2697957" y="714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AC78A4D-01A3-43A6-BE82-E64E2BF16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44272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6544955-4597-4E52-9C7E-8AEB5D2A49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356700"/>
            <a:ext cx="3932237" cy="35122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4313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val 34">
            <a:extLst>
              <a:ext uri="{FF2B5EF4-FFF2-40B4-BE49-F238E27FC236}">
                <a16:creationId xmlns:a16="http://schemas.microsoft.com/office/drawing/2014/main" id="{7BC6DBB9-1B34-4374-A887-DC30F9E2F62F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Graphic 12">
            <a:extLst>
              <a:ext uri="{FF2B5EF4-FFF2-40B4-BE49-F238E27FC236}">
                <a16:creationId xmlns:a16="http://schemas.microsoft.com/office/drawing/2014/main" id="{00DE0AE3-F44D-4F2C-B7A3-C253AA498DEF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F89F8-3E24-406D-9C49-00E6E47E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2DBDA-ED00-4248-AC6D-0CE0B821B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3908793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B5F97-2F18-4EF2-9CBC-AAAB9FF4C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6C05708-08C7-4EF1-B0D8-6A01C1B1AD85}"/>
              </a:ext>
            </a:extLst>
          </p:cNvPr>
          <p:cNvSpPr/>
          <p:nvPr userDrawn="1"/>
        </p:nvSpPr>
        <p:spPr>
          <a:xfrm>
            <a:off x="10413777" y="4433244"/>
            <a:ext cx="1782599" cy="30316"/>
          </a:xfrm>
          <a:custGeom>
            <a:avLst/>
            <a:gdLst>
              <a:gd name="connsiteX0" fmla="*/ 0 w 1782599"/>
              <a:gd name="connsiteY0" fmla="*/ 0 h 30316"/>
              <a:gd name="connsiteX1" fmla="*/ 1782599 w 1782599"/>
              <a:gd name="connsiteY1" fmla="*/ 0 h 30316"/>
              <a:gd name="connsiteX2" fmla="*/ 1782599 w 1782599"/>
              <a:gd name="connsiteY2" fmla="*/ 30316 h 30316"/>
              <a:gd name="connsiteX3" fmla="*/ 2488 w 1782599"/>
              <a:gd name="connsiteY3" fmla="*/ 30316 h 30316"/>
              <a:gd name="connsiteX4" fmla="*/ 643 w 1782599"/>
              <a:gd name="connsiteY4" fmla="*/ 16129 h 30316"/>
              <a:gd name="connsiteX5" fmla="*/ 0 w 1782599"/>
              <a:gd name="connsiteY5" fmla="*/ 3788 h 30316"/>
              <a:gd name="connsiteX6" fmla="*/ 0 w 1782599"/>
              <a:gd name="connsiteY6" fmla="*/ 0 h 30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2599" h="30316">
                <a:moveTo>
                  <a:pt x="0" y="0"/>
                </a:moveTo>
                <a:lnTo>
                  <a:pt x="1782599" y="0"/>
                </a:lnTo>
                <a:lnTo>
                  <a:pt x="1782599" y="30316"/>
                </a:lnTo>
                <a:lnTo>
                  <a:pt x="2488" y="30316"/>
                </a:lnTo>
                <a:lnTo>
                  <a:pt x="643" y="16129"/>
                </a:lnTo>
                <a:cubicBezTo>
                  <a:pt x="40" y="8565"/>
                  <a:pt x="0" y="4104"/>
                  <a:pt x="0" y="378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3" name="Graphic 33">
            <a:extLst>
              <a:ext uri="{FF2B5EF4-FFF2-40B4-BE49-F238E27FC236}">
                <a16:creationId xmlns:a16="http://schemas.microsoft.com/office/drawing/2014/main" id="{38956B41-4EE0-4C7C-8436-027F5DE8B1BC}"/>
              </a:ext>
            </a:extLst>
          </p:cNvPr>
          <p:cNvSpPr/>
          <p:nvPr userDrawn="1"/>
        </p:nvSpPr>
        <p:spPr>
          <a:xfrm>
            <a:off x="887582" y="2045662"/>
            <a:ext cx="3785313" cy="165305"/>
          </a:xfrm>
          <a:custGeom>
            <a:avLst/>
            <a:gdLst>
              <a:gd name="connsiteX0" fmla="*/ 3700149 w 3785313"/>
              <a:gd name="connsiteY0" fmla="*/ 162194 h 165304"/>
              <a:gd name="connsiteX1" fmla="*/ 92020 w 3785313"/>
              <a:gd name="connsiteY1" fmla="*/ 162194 h 165304"/>
              <a:gd name="connsiteX2" fmla="*/ 14166 w 3785313"/>
              <a:gd name="connsiteY2" fmla="*/ 87171 h 165304"/>
              <a:gd name="connsiteX3" fmla="*/ 14166 w 3785313"/>
              <a:gd name="connsiteY3" fmla="*/ 87171 h 165304"/>
              <a:gd name="connsiteX4" fmla="*/ 92020 w 3785313"/>
              <a:gd name="connsiteY4" fmla="*/ 13420 h 165304"/>
              <a:gd name="connsiteX5" fmla="*/ 3698806 w 3785313"/>
              <a:gd name="connsiteY5" fmla="*/ 13420 h 165304"/>
              <a:gd name="connsiteX6" fmla="*/ 3776660 w 3785313"/>
              <a:gd name="connsiteY6" fmla="*/ 87171 h 165304"/>
              <a:gd name="connsiteX7" fmla="*/ 3776660 w 3785313"/>
              <a:gd name="connsiteY7" fmla="*/ 87171 h 165304"/>
              <a:gd name="connsiteX8" fmla="*/ 3700149 w 3785313"/>
              <a:gd name="connsiteY8" fmla="*/ 162194 h 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5313" h="165304">
                <a:moveTo>
                  <a:pt x="3700149" y="162194"/>
                </a:moveTo>
                <a:lnTo>
                  <a:pt x="92020" y="162194"/>
                </a:lnTo>
                <a:cubicBezTo>
                  <a:pt x="49066" y="162194"/>
                  <a:pt x="14166" y="127861"/>
                  <a:pt x="14166" y="87171"/>
                </a:cubicBezTo>
                <a:lnTo>
                  <a:pt x="14166" y="87171"/>
                </a:lnTo>
                <a:cubicBezTo>
                  <a:pt x="14166" y="46481"/>
                  <a:pt x="49066" y="13420"/>
                  <a:pt x="92020" y="13420"/>
                </a:cubicBezTo>
                <a:lnTo>
                  <a:pt x="3698806" y="13420"/>
                </a:lnTo>
                <a:cubicBezTo>
                  <a:pt x="3741760" y="13420"/>
                  <a:pt x="3776660" y="46481"/>
                  <a:pt x="3776660" y="87171"/>
                </a:cubicBezTo>
                <a:lnTo>
                  <a:pt x="3776660" y="87171"/>
                </a:lnTo>
                <a:cubicBezTo>
                  <a:pt x="3778002" y="127861"/>
                  <a:pt x="3743102" y="162194"/>
                  <a:pt x="3700149" y="16219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1340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08687FC-7322-4F20-9769-1ECF4296A96E}"/>
              </a:ext>
            </a:extLst>
          </p:cNvPr>
          <p:cNvSpPr/>
          <p:nvPr userDrawn="1"/>
        </p:nvSpPr>
        <p:spPr>
          <a:xfrm>
            <a:off x="10416941" y="4161024"/>
            <a:ext cx="1785131" cy="543175"/>
          </a:xfrm>
          <a:custGeom>
            <a:avLst/>
            <a:gdLst>
              <a:gd name="connsiteX0" fmla="*/ 1338739 w 1343025"/>
              <a:gd name="connsiteY0" fmla="*/ 7144 h 409575"/>
              <a:gd name="connsiteX1" fmla="*/ 205264 w 1343025"/>
              <a:gd name="connsiteY1" fmla="*/ 7144 h 409575"/>
              <a:gd name="connsiteX2" fmla="*/ 7144 w 1343025"/>
              <a:gd name="connsiteY2" fmla="*/ 201454 h 409575"/>
              <a:gd name="connsiteX3" fmla="*/ 7144 w 1343025"/>
              <a:gd name="connsiteY3" fmla="*/ 209074 h 409575"/>
              <a:gd name="connsiteX4" fmla="*/ 205264 w 1343025"/>
              <a:gd name="connsiteY4" fmla="*/ 403384 h 409575"/>
              <a:gd name="connsiteX5" fmla="*/ 1338739 w 1343025"/>
              <a:gd name="connsiteY5" fmla="*/ 403384 h 409575"/>
              <a:gd name="connsiteX6" fmla="*/ 1338739 w 1343025"/>
              <a:gd name="connsiteY6" fmla="*/ 7144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3025" h="409575">
                <a:moveTo>
                  <a:pt x="1338739" y="7144"/>
                </a:moveTo>
                <a:lnTo>
                  <a:pt x="205264" y="7144"/>
                </a:lnTo>
                <a:cubicBezTo>
                  <a:pt x="205264" y="7144"/>
                  <a:pt x="7144" y="7144"/>
                  <a:pt x="7144" y="201454"/>
                </a:cubicBezTo>
                <a:lnTo>
                  <a:pt x="7144" y="209074"/>
                </a:lnTo>
                <a:cubicBezTo>
                  <a:pt x="7144" y="209074"/>
                  <a:pt x="7144" y="403384"/>
                  <a:pt x="205264" y="403384"/>
                </a:cubicBezTo>
                <a:lnTo>
                  <a:pt x="1338739" y="403384"/>
                </a:lnTo>
                <a:lnTo>
                  <a:pt x="1338739" y="714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0FCCDE26-7222-4C1B-884A-0FAE84FA57DB}"/>
              </a:ext>
            </a:extLst>
          </p:cNvPr>
          <p:cNvSpPr/>
          <p:nvPr userDrawn="1"/>
        </p:nvSpPr>
        <p:spPr>
          <a:xfrm>
            <a:off x="8607090" y="4437664"/>
            <a:ext cx="3595584" cy="922135"/>
          </a:xfrm>
          <a:custGeom>
            <a:avLst/>
            <a:gdLst>
              <a:gd name="connsiteX0" fmla="*/ 2697957 w 2705100"/>
              <a:gd name="connsiteY0" fmla="*/ 7144 h 695325"/>
              <a:gd name="connsiteX1" fmla="*/ 345281 w 2705100"/>
              <a:gd name="connsiteY1" fmla="*/ 7144 h 695325"/>
              <a:gd name="connsiteX2" fmla="*/ 7144 w 2705100"/>
              <a:gd name="connsiteY2" fmla="*/ 344329 h 695325"/>
              <a:gd name="connsiteX3" fmla="*/ 7144 w 2705100"/>
              <a:gd name="connsiteY3" fmla="*/ 356711 h 695325"/>
              <a:gd name="connsiteX4" fmla="*/ 345281 w 2705100"/>
              <a:gd name="connsiteY4" fmla="*/ 693896 h 695325"/>
              <a:gd name="connsiteX5" fmla="*/ 2697957 w 2705100"/>
              <a:gd name="connsiteY5" fmla="*/ 693896 h 695325"/>
              <a:gd name="connsiteX6" fmla="*/ 2697957 w 2705100"/>
              <a:gd name="connsiteY6" fmla="*/ 7144 h 69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05100" h="695325">
                <a:moveTo>
                  <a:pt x="2697957" y="7144"/>
                </a:moveTo>
                <a:lnTo>
                  <a:pt x="345281" y="7144"/>
                </a:lnTo>
                <a:cubicBezTo>
                  <a:pt x="345281" y="7144"/>
                  <a:pt x="7144" y="7144"/>
                  <a:pt x="7144" y="344329"/>
                </a:cubicBezTo>
                <a:lnTo>
                  <a:pt x="7144" y="356711"/>
                </a:lnTo>
                <a:cubicBezTo>
                  <a:pt x="7144" y="356711"/>
                  <a:pt x="7144" y="693896"/>
                  <a:pt x="345281" y="693896"/>
                </a:cubicBezTo>
                <a:lnTo>
                  <a:pt x="2697957" y="693896"/>
                </a:lnTo>
                <a:lnTo>
                  <a:pt x="2697957" y="7144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AC78A4D-01A3-43A6-BE82-E64E2BF16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44272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6544955-4597-4E52-9C7E-8AEB5D2A49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356700"/>
            <a:ext cx="3932237" cy="35122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28A6791-A2CB-40CE-AEF5-A729106DA4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57201"/>
            <a:ext cx="6653212" cy="54038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62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 userDrawn="1"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18" name="Graphic 19">
            <a:extLst>
              <a:ext uri="{FF2B5EF4-FFF2-40B4-BE49-F238E27FC236}">
                <a16:creationId xmlns:a16="http://schemas.microsoft.com/office/drawing/2014/main" id="{436C4D92-1746-4D54-8232-468DFF66CF79}"/>
              </a:ext>
            </a:extLst>
          </p:cNvPr>
          <p:cNvSpPr/>
          <p:nvPr userDrawn="1"/>
        </p:nvSpPr>
        <p:spPr>
          <a:xfrm>
            <a:off x="838200" y="1492524"/>
            <a:ext cx="6153912" cy="151200"/>
          </a:xfrm>
          <a:custGeom>
            <a:avLst/>
            <a:gdLst>
              <a:gd name="connsiteX0" fmla="*/ 4568666 w 4629150"/>
              <a:gd name="connsiteY0" fmla="*/ 118586 h 123825"/>
              <a:gd name="connsiteX1" fmla="*/ 62389 w 4629150"/>
              <a:gd name="connsiteY1" fmla="*/ 118586 h 123825"/>
              <a:gd name="connsiteX2" fmla="*/ 7144 w 4629150"/>
              <a:gd name="connsiteY2" fmla="*/ 62389 h 123825"/>
              <a:gd name="connsiteX3" fmla="*/ 7144 w 4629150"/>
              <a:gd name="connsiteY3" fmla="*/ 62389 h 123825"/>
              <a:gd name="connsiteX4" fmla="*/ 62389 w 4629150"/>
              <a:gd name="connsiteY4" fmla="*/ 7144 h 123825"/>
              <a:gd name="connsiteX5" fmla="*/ 4568666 w 4629150"/>
              <a:gd name="connsiteY5" fmla="*/ 7144 h 123825"/>
              <a:gd name="connsiteX6" fmla="*/ 4623912 w 4629150"/>
              <a:gd name="connsiteY6" fmla="*/ 62389 h 123825"/>
              <a:gd name="connsiteX7" fmla="*/ 4623912 w 4629150"/>
              <a:gd name="connsiteY7" fmla="*/ 62389 h 123825"/>
              <a:gd name="connsiteX8" fmla="*/ 4568666 w 4629150"/>
              <a:gd name="connsiteY8" fmla="*/ 118586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9150" h="123825">
                <a:moveTo>
                  <a:pt x="4568666" y="118586"/>
                </a:moveTo>
                <a:lnTo>
                  <a:pt x="62389" y="118586"/>
                </a:lnTo>
                <a:cubicBezTo>
                  <a:pt x="31909" y="118586"/>
                  <a:pt x="7144" y="92869"/>
                  <a:pt x="7144" y="62389"/>
                </a:cubicBezTo>
                <a:lnTo>
                  <a:pt x="7144" y="62389"/>
                </a:lnTo>
                <a:cubicBezTo>
                  <a:pt x="7144" y="31909"/>
                  <a:pt x="31909" y="7144"/>
                  <a:pt x="62389" y="7144"/>
                </a:cubicBezTo>
                <a:lnTo>
                  <a:pt x="4568666" y="7144"/>
                </a:lnTo>
                <a:cubicBezTo>
                  <a:pt x="4599147" y="7144"/>
                  <a:pt x="4623912" y="31909"/>
                  <a:pt x="4623912" y="62389"/>
                </a:cubicBezTo>
                <a:lnTo>
                  <a:pt x="4623912" y="62389"/>
                </a:lnTo>
                <a:cubicBezTo>
                  <a:pt x="4623912" y="92869"/>
                  <a:pt x="4599147" y="118586"/>
                  <a:pt x="4568666" y="11858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E77FD51D-3B1F-4D51-8A61-6CF822277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050518" cy="945498"/>
          </a:xfrm>
        </p:spPr>
        <p:txBody>
          <a:bodyPr/>
          <a:lstStyle/>
          <a:p>
            <a:r>
              <a:rPr lang="en-US" altLang="ko-KR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718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>
            <a:extLst>
              <a:ext uri="{FF2B5EF4-FFF2-40B4-BE49-F238E27FC236}">
                <a16:creationId xmlns:a16="http://schemas.microsoft.com/office/drawing/2014/main" id="{2F290D8B-987A-4555-890C-F3CD026BF7BF}"/>
              </a:ext>
            </a:extLst>
          </p:cNvPr>
          <p:cNvSpPr/>
          <p:nvPr userDrawn="1"/>
        </p:nvSpPr>
        <p:spPr>
          <a:xfrm>
            <a:off x="10893420" y="5803030"/>
            <a:ext cx="385200" cy="38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Graphic 12">
            <a:extLst>
              <a:ext uri="{FF2B5EF4-FFF2-40B4-BE49-F238E27FC236}">
                <a16:creationId xmlns:a16="http://schemas.microsoft.com/office/drawing/2014/main" id="{6139C5E6-5A04-4458-8EF9-628BFBA73A92}"/>
              </a:ext>
            </a:extLst>
          </p:cNvPr>
          <p:cNvSpPr/>
          <p:nvPr userDrawn="1"/>
        </p:nvSpPr>
        <p:spPr>
          <a:xfrm>
            <a:off x="11334292" y="5787811"/>
            <a:ext cx="870509" cy="409651"/>
          </a:xfrm>
          <a:custGeom>
            <a:avLst/>
            <a:gdLst>
              <a:gd name="connsiteX0" fmla="*/ 203546 w 870509"/>
              <a:gd name="connsiteY0" fmla="*/ 400690 h 409651"/>
              <a:gd name="connsiteX1" fmla="*/ 860268 w 870509"/>
              <a:gd name="connsiteY1" fmla="*/ 400690 h 409651"/>
              <a:gd name="connsiteX2" fmla="*/ 860268 w 870509"/>
              <a:gd name="connsiteY2" fmla="*/ 12802 h 409651"/>
              <a:gd name="connsiteX3" fmla="*/ 203546 w 870509"/>
              <a:gd name="connsiteY3" fmla="*/ 12802 h 409651"/>
              <a:gd name="connsiteX4" fmla="*/ 12802 w 870509"/>
              <a:gd name="connsiteY4" fmla="*/ 203545 h 409651"/>
              <a:gd name="connsiteX5" fmla="*/ 12802 w 870509"/>
              <a:gd name="connsiteY5" fmla="*/ 211226 h 409651"/>
              <a:gd name="connsiteX6" fmla="*/ 203546 w 870509"/>
              <a:gd name="connsiteY6" fmla="*/ 40069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509" h="409651">
                <a:moveTo>
                  <a:pt x="203546" y="400690"/>
                </a:moveTo>
                <a:lnTo>
                  <a:pt x="860268" y="400690"/>
                </a:lnTo>
                <a:lnTo>
                  <a:pt x="860268" y="12802"/>
                </a:lnTo>
                <a:lnTo>
                  <a:pt x="203546" y="12802"/>
                </a:lnTo>
                <a:cubicBezTo>
                  <a:pt x="203546" y="12802"/>
                  <a:pt x="12802" y="12802"/>
                  <a:pt x="12802" y="203545"/>
                </a:cubicBezTo>
                <a:lnTo>
                  <a:pt x="12802" y="211226"/>
                </a:lnTo>
                <a:cubicBezTo>
                  <a:pt x="12802" y="209946"/>
                  <a:pt x="12802" y="400690"/>
                  <a:pt x="203546" y="400690"/>
                </a:cubicBezTo>
                <a:close/>
              </a:path>
            </a:pathLst>
          </a:custGeom>
          <a:gradFill flip="none" rotWithShape="1">
            <a:gsLst>
              <a:gs pos="1200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A0631-3130-4C36-8E5E-80464B1A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30F82-FE68-4450-98DF-5D29369A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290" y="5797769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603C1-6E1A-4E4B-9555-31D84B6B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5E168-DA5E-4888-8D8A-92B118324C14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41" name="Graphic 39">
            <a:extLst>
              <a:ext uri="{FF2B5EF4-FFF2-40B4-BE49-F238E27FC236}">
                <a16:creationId xmlns:a16="http://schemas.microsoft.com/office/drawing/2014/main" id="{1D75FFD8-3F66-48B3-BB01-D4B8A9496851}"/>
              </a:ext>
            </a:extLst>
          </p:cNvPr>
          <p:cNvGrpSpPr/>
          <p:nvPr userDrawn="1"/>
        </p:nvGrpSpPr>
        <p:grpSpPr>
          <a:xfrm>
            <a:off x="10008352" y="0"/>
            <a:ext cx="2188800" cy="1933794"/>
            <a:chOff x="10003200" y="0"/>
            <a:chExt cx="2188800" cy="1933794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A0EC60-510D-41EF-AFE6-E4E6BD83F8C9}"/>
                </a:ext>
              </a:extLst>
            </p:cNvPr>
            <p:cNvSpPr/>
            <p:nvPr/>
          </p:nvSpPr>
          <p:spPr>
            <a:xfrm>
              <a:off x="10712341" y="-7969"/>
              <a:ext cx="1466283" cy="1009398"/>
            </a:xfrm>
            <a:custGeom>
              <a:avLst/>
              <a:gdLst>
                <a:gd name="connsiteX0" fmla="*/ 1467972 w 1466283"/>
                <a:gd name="connsiteY0" fmla="*/ 752798 h 1009397"/>
                <a:gd name="connsiteX1" fmla="*/ 1221466 w 1466283"/>
                <a:gd name="connsiteY1" fmla="*/ 871801 h 1009397"/>
                <a:gd name="connsiteX2" fmla="*/ 425635 w 1466283"/>
                <a:gd name="connsiteY2" fmla="*/ 821862 h 1009397"/>
                <a:gd name="connsiteX3" fmla="*/ 158942 w 1466283"/>
                <a:gd name="connsiteY3" fmla="*/ 510543 h 1009397"/>
                <a:gd name="connsiteX4" fmla="*/ 145129 w 1466283"/>
                <a:gd name="connsiteY4" fmla="*/ 482917 h 1009397"/>
                <a:gd name="connsiteX5" fmla="*/ 52689 w 1466283"/>
                <a:gd name="connsiteY5" fmla="*/ 7969 h 1009397"/>
                <a:gd name="connsiteX6" fmla="*/ 14439 w 1466283"/>
                <a:gd name="connsiteY6" fmla="*/ 7969 h 1009397"/>
                <a:gd name="connsiteX7" fmla="*/ 111128 w 1466283"/>
                <a:gd name="connsiteY7" fmla="*/ 499918 h 1009397"/>
                <a:gd name="connsiteX8" fmla="*/ 124941 w 1466283"/>
                <a:gd name="connsiteY8" fmla="*/ 527543 h 1009397"/>
                <a:gd name="connsiteX9" fmla="*/ 402260 w 1466283"/>
                <a:gd name="connsiteY9" fmla="*/ 851613 h 1009397"/>
                <a:gd name="connsiteX10" fmla="*/ 845333 w 1466283"/>
                <a:gd name="connsiteY10" fmla="*/ 1004617 h 1009397"/>
                <a:gd name="connsiteX11" fmla="*/ 1238467 w 1466283"/>
                <a:gd name="connsiteY11" fmla="*/ 906864 h 1009397"/>
                <a:gd name="connsiteX12" fmla="*/ 1467972 w 1466283"/>
                <a:gd name="connsiteY12" fmla="*/ 795299 h 1009397"/>
                <a:gd name="connsiteX13" fmla="*/ 1467972 w 1466283"/>
                <a:gd name="connsiteY13" fmla="*/ 752798 h 1009397"/>
                <a:gd name="connsiteX14" fmla="*/ 1467972 w 1466283"/>
                <a:gd name="connsiteY14" fmla="*/ 752798 h 1009397"/>
                <a:gd name="connsiteX15" fmla="*/ 1467972 w 1466283"/>
                <a:gd name="connsiteY15" fmla="*/ 752798 h 100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6283" h="1009397">
                  <a:moveTo>
                    <a:pt x="1467972" y="752798"/>
                  </a:moveTo>
                  <a:lnTo>
                    <a:pt x="1221466" y="871801"/>
                  </a:lnTo>
                  <a:cubicBezTo>
                    <a:pt x="928209" y="1015242"/>
                    <a:pt x="660453" y="997179"/>
                    <a:pt x="425635" y="821862"/>
                  </a:cubicBezTo>
                  <a:cubicBezTo>
                    <a:pt x="250319" y="689047"/>
                    <a:pt x="158942" y="512668"/>
                    <a:pt x="158942" y="510543"/>
                  </a:cubicBezTo>
                  <a:lnTo>
                    <a:pt x="145129" y="482917"/>
                  </a:lnTo>
                  <a:cubicBezTo>
                    <a:pt x="61190" y="315038"/>
                    <a:pt x="29314" y="155660"/>
                    <a:pt x="52689" y="7969"/>
                  </a:cubicBezTo>
                  <a:lnTo>
                    <a:pt x="14439" y="7969"/>
                  </a:lnTo>
                  <a:cubicBezTo>
                    <a:pt x="-6812" y="163097"/>
                    <a:pt x="24001" y="327789"/>
                    <a:pt x="111128" y="499918"/>
                  </a:cubicBezTo>
                  <a:lnTo>
                    <a:pt x="124941" y="527543"/>
                  </a:lnTo>
                  <a:cubicBezTo>
                    <a:pt x="129191" y="534981"/>
                    <a:pt x="219506" y="714548"/>
                    <a:pt x="402260" y="851613"/>
                  </a:cubicBezTo>
                  <a:cubicBezTo>
                    <a:pt x="508512" y="931302"/>
                    <a:pt x="656203" y="1004617"/>
                    <a:pt x="845333" y="1004617"/>
                  </a:cubicBezTo>
                  <a:cubicBezTo>
                    <a:pt x="961148" y="1004617"/>
                    <a:pt x="1091838" y="976991"/>
                    <a:pt x="1238467" y="906864"/>
                  </a:cubicBezTo>
                  <a:lnTo>
                    <a:pt x="1467972" y="795299"/>
                  </a:lnTo>
                  <a:lnTo>
                    <a:pt x="1467972" y="752798"/>
                  </a:lnTo>
                  <a:lnTo>
                    <a:pt x="1467972" y="752798"/>
                  </a:lnTo>
                  <a:lnTo>
                    <a:pt x="1467972" y="75279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162C508-E081-418C-A19D-15A59388C43A}"/>
                </a:ext>
              </a:extLst>
            </p:cNvPr>
            <p:cNvSpPr/>
            <p:nvPr/>
          </p:nvSpPr>
          <p:spPr>
            <a:xfrm>
              <a:off x="10014209" y="321414"/>
              <a:ext cx="2178175" cy="1593786"/>
            </a:xfrm>
            <a:custGeom>
              <a:avLst/>
              <a:gdLst>
                <a:gd name="connsiteX0" fmla="*/ 231247 w 2178174"/>
                <a:gd name="connsiteY0" fmla="*/ 950428 h 1593786"/>
                <a:gd name="connsiteX1" fmla="*/ 45305 w 2178174"/>
                <a:gd name="connsiteY1" fmla="*/ 1404126 h 1593786"/>
                <a:gd name="connsiteX2" fmla="*/ 50617 w 2178174"/>
                <a:gd name="connsiteY2" fmla="*/ 1415814 h 1593786"/>
                <a:gd name="connsiteX3" fmla="*/ 529816 w 2178174"/>
                <a:gd name="connsiteY3" fmla="*/ 1547566 h 1593786"/>
                <a:gd name="connsiteX4" fmla="*/ 2173541 w 2178174"/>
                <a:gd name="connsiteY4" fmla="*/ 749611 h 1593786"/>
                <a:gd name="connsiteX5" fmla="*/ 2173541 w 2178174"/>
                <a:gd name="connsiteY5" fmla="*/ 7969 h 1593786"/>
                <a:gd name="connsiteX6" fmla="*/ 231247 w 2178174"/>
                <a:gd name="connsiteY6" fmla="*/ 950428 h 159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8174" h="1593786">
                  <a:moveTo>
                    <a:pt x="231247" y="950428"/>
                  </a:moveTo>
                  <a:cubicBezTo>
                    <a:pt x="231247" y="950428"/>
                    <a:pt x="-101324" y="1111932"/>
                    <a:pt x="45305" y="1404126"/>
                  </a:cubicBezTo>
                  <a:lnTo>
                    <a:pt x="50617" y="1415814"/>
                  </a:lnTo>
                  <a:cubicBezTo>
                    <a:pt x="50617" y="1415814"/>
                    <a:pt x="197246" y="1708008"/>
                    <a:pt x="529816" y="1547566"/>
                  </a:cubicBezTo>
                  <a:lnTo>
                    <a:pt x="2173541" y="749611"/>
                  </a:lnTo>
                  <a:lnTo>
                    <a:pt x="2173541" y="7969"/>
                  </a:lnTo>
                  <a:lnTo>
                    <a:pt x="231247" y="95042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710D7D-FC65-4BF6-BDA4-E59B01AD6FBC}"/>
                </a:ext>
              </a:extLst>
            </p:cNvPr>
            <p:cNvSpPr/>
            <p:nvPr/>
          </p:nvSpPr>
          <p:spPr>
            <a:xfrm>
              <a:off x="10732016" y="-7969"/>
              <a:ext cx="1455658" cy="839394"/>
            </a:xfrm>
            <a:custGeom>
              <a:avLst/>
              <a:gdLst>
                <a:gd name="connsiteX0" fmla="*/ 123329 w 1455658"/>
                <a:gd name="connsiteY0" fmla="*/ 521168 h 839394"/>
                <a:gd name="connsiteX1" fmla="*/ 390022 w 1455658"/>
                <a:gd name="connsiteY1" fmla="*/ 834613 h 839394"/>
                <a:gd name="connsiteX2" fmla="*/ 1455734 w 1455658"/>
                <a:gd name="connsiteY2" fmla="*/ 317163 h 839394"/>
                <a:gd name="connsiteX3" fmla="*/ 1456797 w 1455658"/>
                <a:gd name="connsiteY3" fmla="*/ 7969 h 839394"/>
                <a:gd name="connsiteX4" fmla="*/ 14951 w 1455658"/>
                <a:gd name="connsiteY4" fmla="*/ 7969 h 839394"/>
                <a:gd name="connsiteX5" fmla="*/ 109516 w 1455658"/>
                <a:gd name="connsiteY5" fmla="*/ 493543 h 839394"/>
                <a:gd name="connsiteX6" fmla="*/ 123329 w 1455658"/>
                <a:gd name="connsiteY6" fmla="*/ 521168 h 83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658" h="839394">
                  <a:moveTo>
                    <a:pt x="123329" y="521168"/>
                  </a:moveTo>
                  <a:cubicBezTo>
                    <a:pt x="123329" y="521168"/>
                    <a:pt x="212581" y="698610"/>
                    <a:pt x="390022" y="834613"/>
                  </a:cubicBezTo>
                  <a:lnTo>
                    <a:pt x="1455734" y="317163"/>
                  </a:lnTo>
                  <a:lnTo>
                    <a:pt x="1456797" y="7969"/>
                  </a:lnTo>
                  <a:lnTo>
                    <a:pt x="14951" y="7969"/>
                  </a:lnTo>
                  <a:cubicBezTo>
                    <a:pt x="-5237" y="145035"/>
                    <a:pt x="16014" y="307601"/>
                    <a:pt x="109516" y="493543"/>
                  </a:cubicBezTo>
                  <a:lnTo>
                    <a:pt x="123329" y="52116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8811B6B-BBB0-4D69-AEF8-AD0A7F9A4B57}"/>
                </a:ext>
              </a:extLst>
            </p:cNvPr>
            <p:cNvSpPr/>
            <p:nvPr/>
          </p:nvSpPr>
          <p:spPr>
            <a:xfrm>
              <a:off x="11124635" y="1146995"/>
              <a:ext cx="1062524" cy="743767"/>
            </a:xfrm>
            <a:custGeom>
              <a:avLst/>
              <a:gdLst>
                <a:gd name="connsiteX0" fmla="*/ 1064178 w 1062524"/>
                <a:gd name="connsiteY0" fmla="*/ 7969 h 743766"/>
                <a:gd name="connsiteX1" fmla="*/ 91968 w 1062524"/>
                <a:gd name="connsiteY1" fmla="*/ 480792 h 743766"/>
                <a:gd name="connsiteX2" fmla="*/ 22904 w 1062524"/>
                <a:gd name="connsiteY2" fmla="*/ 658234 h 743766"/>
                <a:gd name="connsiteX3" fmla="*/ 25029 w 1062524"/>
                <a:gd name="connsiteY3" fmla="*/ 663546 h 743766"/>
                <a:gd name="connsiteX4" fmla="*/ 209908 w 1062524"/>
                <a:gd name="connsiteY4" fmla="*/ 718798 h 743766"/>
                <a:gd name="connsiteX5" fmla="*/ 1064178 w 1062524"/>
                <a:gd name="connsiteY5" fmla="*/ 302288 h 743766"/>
                <a:gd name="connsiteX6" fmla="*/ 1064178 w 1062524"/>
                <a:gd name="connsiteY6" fmla="*/ 7969 h 74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2524" h="743766">
                  <a:moveTo>
                    <a:pt x="1064178" y="7969"/>
                  </a:moveTo>
                  <a:lnTo>
                    <a:pt x="91968" y="480792"/>
                  </a:lnTo>
                  <a:cubicBezTo>
                    <a:pt x="91968" y="480792"/>
                    <a:pt x="-34472" y="543481"/>
                    <a:pt x="22904" y="658234"/>
                  </a:cubicBezTo>
                  <a:lnTo>
                    <a:pt x="25029" y="663546"/>
                  </a:lnTo>
                  <a:cubicBezTo>
                    <a:pt x="25029" y="663546"/>
                    <a:pt x="82405" y="780424"/>
                    <a:pt x="209908" y="718798"/>
                  </a:cubicBezTo>
                  <a:lnTo>
                    <a:pt x="1064178" y="302288"/>
                  </a:lnTo>
                  <a:lnTo>
                    <a:pt x="1064178" y="796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7F04C-0D31-4172-9D02-F8C8B2043EB9}"/>
                </a:ext>
              </a:extLst>
            </p:cNvPr>
            <p:cNvSpPr/>
            <p:nvPr/>
          </p:nvSpPr>
          <p:spPr>
            <a:xfrm>
              <a:off x="11105057" y="1128932"/>
              <a:ext cx="1083775" cy="775643"/>
            </a:xfrm>
            <a:custGeom>
              <a:avLst/>
              <a:gdLst>
                <a:gd name="connsiteX0" fmla="*/ 219924 w 1083774"/>
                <a:gd name="connsiteY0" fmla="*/ 719860 h 775642"/>
                <a:gd name="connsiteX1" fmla="*/ 60545 w 1083774"/>
                <a:gd name="connsiteY1" fmla="*/ 674172 h 775642"/>
                <a:gd name="connsiteX2" fmla="*/ 58420 w 1083774"/>
                <a:gd name="connsiteY2" fmla="*/ 668859 h 775642"/>
                <a:gd name="connsiteX3" fmla="*/ 118984 w 1083774"/>
                <a:gd name="connsiteY3" fmla="*/ 515856 h 775642"/>
                <a:gd name="connsiteX4" fmla="*/ 1083756 w 1083774"/>
                <a:gd name="connsiteY4" fmla="*/ 48345 h 775642"/>
                <a:gd name="connsiteX5" fmla="*/ 1083756 w 1083774"/>
                <a:gd name="connsiteY5" fmla="*/ 7969 h 775642"/>
                <a:gd name="connsiteX6" fmla="*/ 103046 w 1083774"/>
                <a:gd name="connsiteY6" fmla="*/ 482917 h 775642"/>
                <a:gd name="connsiteX7" fmla="*/ 14856 w 1083774"/>
                <a:gd name="connsiteY7" fmla="*/ 578544 h 775642"/>
                <a:gd name="connsiteX8" fmla="*/ 24419 w 1083774"/>
                <a:gd name="connsiteY8" fmla="*/ 686922 h 775642"/>
                <a:gd name="connsiteX9" fmla="*/ 26544 w 1083774"/>
                <a:gd name="connsiteY9" fmla="*/ 692234 h 775642"/>
                <a:gd name="connsiteX10" fmla="*/ 157235 w 1083774"/>
                <a:gd name="connsiteY10" fmla="*/ 775111 h 775642"/>
                <a:gd name="connsiteX11" fmla="*/ 236924 w 1083774"/>
                <a:gd name="connsiteY11" fmla="*/ 754923 h 775642"/>
                <a:gd name="connsiteX12" fmla="*/ 1083756 w 1083774"/>
                <a:gd name="connsiteY12" fmla="*/ 344789 h 775642"/>
                <a:gd name="connsiteX13" fmla="*/ 1083756 w 1083774"/>
                <a:gd name="connsiteY13" fmla="*/ 301226 h 775642"/>
                <a:gd name="connsiteX14" fmla="*/ 219924 w 1083774"/>
                <a:gd name="connsiteY14" fmla="*/ 719860 h 77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774" h="775642">
                  <a:moveTo>
                    <a:pt x="219924" y="719860"/>
                  </a:moveTo>
                  <a:cubicBezTo>
                    <a:pt x="112609" y="771924"/>
                    <a:pt x="65858" y="683734"/>
                    <a:pt x="60545" y="674172"/>
                  </a:cubicBezTo>
                  <a:lnTo>
                    <a:pt x="58420" y="668859"/>
                  </a:lnTo>
                  <a:cubicBezTo>
                    <a:pt x="9544" y="571107"/>
                    <a:pt x="114734" y="519043"/>
                    <a:pt x="118984" y="515856"/>
                  </a:cubicBezTo>
                  <a:lnTo>
                    <a:pt x="1083756" y="48345"/>
                  </a:lnTo>
                  <a:lnTo>
                    <a:pt x="1083756" y="7969"/>
                  </a:lnTo>
                  <a:lnTo>
                    <a:pt x="103046" y="482917"/>
                  </a:lnTo>
                  <a:cubicBezTo>
                    <a:pt x="100921" y="483980"/>
                    <a:pt x="36107" y="516918"/>
                    <a:pt x="14856" y="578544"/>
                  </a:cubicBezTo>
                  <a:cubicBezTo>
                    <a:pt x="3169" y="613608"/>
                    <a:pt x="6356" y="649733"/>
                    <a:pt x="24419" y="686922"/>
                  </a:cubicBezTo>
                  <a:lnTo>
                    <a:pt x="26544" y="692234"/>
                  </a:lnTo>
                  <a:cubicBezTo>
                    <a:pt x="44607" y="726235"/>
                    <a:pt x="88171" y="775111"/>
                    <a:pt x="157235" y="775111"/>
                  </a:cubicBezTo>
                  <a:cubicBezTo>
                    <a:pt x="180610" y="775111"/>
                    <a:pt x="207173" y="768736"/>
                    <a:pt x="236924" y="754923"/>
                  </a:cubicBezTo>
                  <a:lnTo>
                    <a:pt x="1083756" y="344789"/>
                  </a:lnTo>
                  <a:lnTo>
                    <a:pt x="1083756" y="301226"/>
                  </a:lnTo>
                  <a:lnTo>
                    <a:pt x="219924" y="71986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B04931-77A8-4259-95CA-DA7DEDB2DEFD}"/>
                </a:ext>
              </a:extLst>
            </p:cNvPr>
            <p:cNvSpPr/>
            <p:nvPr/>
          </p:nvSpPr>
          <p:spPr>
            <a:xfrm>
              <a:off x="9994666" y="301226"/>
              <a:ext cx="2199425" cy="1636287"/>
            </a:xfrm>
            <a:custGeom>
              <a:avLst/>
              <a:gdLst>
                <a:gd name="connsiteX0" fmla="*/ 538733 w 2199425"/>
                <a:gd name="connsiteY0" fmla="*/ 1550754 h 1636287"/>
                <a:gd name="connsiteX1" fmla="*/ 86098 w 2199425"/>
                <a:gd name="connsiteY1" fmla="*/ 1428564 h 1636287"/>
                <a:gd name="connsiteX2" fmla="*/ 80785 w 2199425"/>
                <a:gd name="connsiteY2" fmla="*/ 1416876 h 1636287"/>
                <a:gd name="connsiteX3" fmla="*/ 115848 w 2199425"/>
                <a:gd name="connsiteY3" fmla="*/ 1102369 h 1636287"/>
                <a:gd name="connsiteX4" fmla="*/ 257164 w 2199425"/>
                <a:gd name="connsiteY4" fmla="*/ 988679 h 1636287"/>
                <a:gd name="connsiteX5" fmla="*/ 2193084 w 2199425"/>
                <a:gd name="connsiteY5" fmla="*/ 49407 h 1636287"/>
                <a:gd name="connsiteX6" fmla="*/ 2193084 w 2199425"/>
                <a:gd name="connsiteY6" fmla="*/ 7969 h 1636287"/>
                <a:gd name="connsiteX7" fmla="*/ 241226 w 2199425"/>
                <a:gd name="connsiteY7" fmla="*/ 954678 h 1636287"/>
                <a:gd name="connsiteX8" fmla="*/ 23409 w 2199425"/>
                <a:gd name="connsiteY8" fmla="*/ 1187371 h 1636287"/>
                <a:gd name="connsiteX9" fmla="*/ 47847 w 2199425"/>
                <a:gd name="connsiteY9" fmla="*/ 1433876 h 1636287"/>
                <a:gd name="connsiteX10" fmla="*/ 53160 w 2199425"/>
                <a:gd name="connsiteY10" fmla="*/ 1445564 h 1636287"/>
                <a:gd name="connsiteX11" fmla="*/ 358104 w 2199425"/>
                <a:gd name="connsiteY11" fmla="*/ 1635756 h 1636287"/>
                <a:gd name="connsiteX12" fmla="*/ 555734 w 2199425"/>
                <a:gd name="connsiteY12" fmla="*/ 1585817 h 1636287"/>
                <a:gd name="connsiteX13" fmla="*/ 2193084 w 2199425"/>
                <a:gd name="connsiteY13" fmla="*/ 789987 h 1636287"/>
                <a:gd name="connsiteX14" fmla="*/ 2193084 w 2199425"/>
                <a:gd name="connsiteY14" fmla="*/ 748548 h 1636287"/>
                <a:gd name="connsiteX15" fmla="*/ 538733 w 2199425"/>
                <a:gd name="connsiteY15" fmla="*/ 1550754 h 163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9425" h="1636287">
                  <a:moveTo>
                    <a:pt x="538733" y="1550754"/>
                  </a:moveTo>
                  <a:cubicBezTo>
                    <a:pt x="228476" y="1701633"/>
                    <a:pt x="90348" y="1439189"/>
                    <a:pt x="86098" y="1428564"/>
                  </a:cubicBezTo>
                  <a:lnTo>
                    <a:pt x="80785" y="1416876"/>
                  </a:lnTo>
                  <a:cubicBezTo>
                    <a:pt x="24471" y="1303186"/>
                    <a:pt x="35097" y="1196934"/>
                    <a:pt x="115848" y="1102369"/>
                  </a:cubicBezTo>
                  <a:cubicBezTo>
                    <a:pt x="176412" y="1030117"/>
                    <a:pt x="256102" y="989741"/>
                    <a:pt x="257164" y="988679"/>
                  </a:cubicBezTo>
                  <a:lnTo>
                    <a:pt x="2193084" y="49407"/>
                  </a:lnTo>
                  <a:lnTo>
                    <a:pt x="2193084" y="7969"/>
                  </a:lnTo>
                  <a:lnTo>
                    <a:pt x="241226" y="954678"/>
                  </a:lnTo>
                  <a:cubicBezTo>
                    <a:pt x="234851" y="958928"/>
                    <a:pt x="74410" y="1037555"/>
                    <a:pt x="23409" y="1187371"/>
                  </a:cubicBezTo>
                  <a:cubicBezTo>
                    <a:pt x="-3154" y="1265998"/>
                    <a:pt x="4283" y="1348875"/>
                    <a:pt x="47847" y="1433876"/>
                  </a:cubicBezTo>
                  <a:lnTo>
                    <a:pt x="53160" y="1445564"/>
                  </a:lnTo>
                  <a:cubicBezTo>
                    <a:pt x="53160" y="1447689"/>
                    <a:pt x="150912" y="1635756"/>
                    <a:pt x="358104" y="1635756"/>
                  </a:cubicBezTo>
                  <a:cubicBezTo>
                    <a:pt x="415480" y="1635756"/>
                    <a:pt x="481357" y="1621943"/>
                    <a:pt x="555734" y="1585817"/>
                  </a:cubicBezTo>
                  <a:lnTo>
                    <a:pt x="2193084" y="789987"/>
                  </a:lnTo>
                  <a:lnTo>
                    <a:pt x="2193084" y="748548"/>
                  </a:lnTo>
                  <a:lnTo>
                    <a:pt x="538733" y="155075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882825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DE81C-F11F-40CA-85A6-F4AAEC6A71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174AED-E492-49D0-B09C-A36649D298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BF889A-C28E-48CD-A68F-F316CF456E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649EDB-B6F8-48BC-B0DA-DA7A96799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A0A6B7-9097-4DEE-91EA-78AEC4C527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3CECEF-43D0-47BA-B078-82C1DD0AD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86226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08FFB-8A0F-4C95-8980-249CF9B40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74FCA0-67B4-4907-B9AF-EAC39F3269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01243-F0FB-41FD-8CCA-63403E2EEA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42611D-B444-4FB2-835A-E371639897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17845C-5BEE-4D0E-B1EE-65F8074B10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15C5A3-4F20-4D75-AFC8-C3C98020DF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53E2ED-AFF1-43A8-8326-10DB036DD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698222-C850-4D3E-9BEA-1957AB82D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4613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82138-B9B6-4165-8783-8CF0C2AA8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9C3ADF-F158-4826-90D1-A64B48EA34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D374F8-D381-4C59-88AA-2170DF82A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3F3EE8-1B2E-42F9-AC41-12A608054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1124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CBDE9E7-B3F4-4CF0-88AE-5D6B6CBF3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FEE9D4-5BCE-4C60-9F85-F3EA80AE6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9C1BB9-3A63-451F-80F6-16654EB79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82344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E4B663-5CD2-4FEA-9431-340A1F109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783FE5-1094-4A77-BFC6-530674ED9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330B0A-422C-4CB0-930D-85912F0583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EF2B87-1302-4822-B46D-DD3EBD709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5BB586-3D40-4804-8400-93ADD1F50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0BE20C-BC0F-4738-9C80-F9752C0267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456712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5D02F-A76C-4C5A-B00A-B1A7564C8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FF19B5-5883-439B-BEA4-8AA8101FEB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18988F-2C3E-4CF4-A62A-A89C58EC8C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493F70-AECB-4A99-A79D-B46C5F73A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9602D5-EBD4-417D-8BD9-C15860B41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85011E-9BB2-403B-AC08-5923AFCFE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0867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F9EE5F-14CC-46E0-A9F2-F20B76285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71D52F-F26C-4557-ADC8-7B481E8181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4CA17C-EB34-4A8E-AEF3-7FE0CC5B1D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B03F41-E895-441C-B41E-FDED517EAD2F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CC6934-DC3D-43E5-9367-66EBB0147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AFE12B-51C2-471E-8599-2CC0836184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75705C-D474-4E9D-A974-0AB134C5990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9594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82" r:id="rId1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DB6A3A-74E6-4FE2-8AD2-CEB070447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128AA-FDF4-4DD5-A009-3C58D24570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1C2DC0-7E13-4A66-9F9B-371BA9C6E4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400" y="581681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dirty="0"/>
              <a:t>MM.DD.20XX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5097E-EB08-4475-9112-275B840279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4358" y="5816819"/>
            <a:ext cx="54944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D495E168-DA5E-4888-8D8A-92B118324C1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F296578-6D40-435B-861E-0904DDC10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2290" y="5816819"/>
            <a:ext cx="33987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A FOOT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2511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</p:sldLayoutIdLst>
  <p:hf hd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000" b="1" kern="1200"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574">
          <p15:clr>
            <a:srgbClr val="F26B43"/>
          </p15:clr>
        </p15:guide>
        <p15:guide id="3" pos="7106">
          <p15:clr>
            <a:srgbClr val="F26B43"/>
          </p15:clr>
        </p15:guide>
        <p15:guide id="4" orient="horz" pos="3748">
          <p15:clr>
            <a:srgbClr val="F26B43"/>
          </p15:clr>
        </p15:guide>
        <p15:guide id="5" pos="4407">
          <p15:clr>
            <a:srgbClr val="F26B43"/>
          </p15:clr>
        </p15:guide>
        <p15:guide id="6" pos="3273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svg"/><Relationship Id="rId7" Type="http://schemas.openxmlformats.org/officeDocument/2006/relationships/image" Target="../media/image38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7.png"/><Relationship Id="rId5" Type="http://schemas.openxmlformats.org/officeDocument/2006/relationships/image" Target="../media/image36.svg"/><Relationship Id="rId4" Type="http://schemas.openxmlformats.org/officeDocument/2006/relationships/image" Target="../media/image35.png"/><Relationship Id="rId9" Type="http://schemas.openxmlformats.org/officeDocument/2006/relationships/image" Target="../media/image4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4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0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2.png"/><Relationship Id="rId5" Type="http://schemas.openxmlformats.org/officeDocument/2006/relationships/tags" Target="../tags/tag5.xml"/><Relationship Id="rId10" Type="http://schemas.openxmlformats.org/officeDocument/2006/relationships/image" Target="../media/image21.png"/><Relationship Id="rId4" Type="http://schemas.openxmlformats.org/officeDocument/2006/relationships/tags" Target="../tags/tag4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D6760C-D868-43F4-99FB-1B78C91F8F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7752" y="3435967"/>
            <a:ext cx="3525706" cy="677305"/>
          </a:xfrm>
        </p:spPr>
        <p:txBody>
          <a:bodyPr>
            <a:noAutofit/>
          </a:bodyPr>
          <a:lstStyle/>
          <a:p>
            <a:r>
              <a:rPr lang="en-US" sz="1700" dirty="0"/>
              <a:t>Web Data Scrapping by Python</a:t>
            </a:r>
          </a:p>
          <a:p>
            <a:r>
              <a:rPr lang="en-US" sz="1700" dirty="0"/>
              <a:t>Visualization by R </a:t>
            </a:r>
            <a:endParaRPr lang="ru-RU" sz="17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CCBAE3-CEA3-4EE0-83F6-41CFC54D2B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54235" y="5253926"/>
            <a:ext cx="3065072" cy="536972"/>
          </a:xfrm>
        </p:spPr>
        <p:txBody>
          <a:bodyPr/>
          <a:lstStyle/>
          <a:p>
            <a:r>
              <a:rPr lang="en-US" b="1" dirty="0"/>
              <a:t>SANGHEE HONG</a:t>
            </a:r>
            <a:br>
              <a:rPr lang="en-US" b="1" dirty="0"/>
            </a:br>
            <a:endParaRPr lang="ru-RU" b="1" dirty="0"/>
          </a:p>
        </p:txBody>
      </p:sp>
      <p:pic>
        <p:nvPicPr>
          <p:cNvPr id="12" name="Picture Placeholder 11" descr="Beautiful cliff sea town on sunset">
            <a:extLst>
              <a:ext uri="{FF2B5EF4-FFF2-40B4-BE49-F238E27FC236}">
                <a16:creationId xmlns:a16="http://schemas.microsoft.com/office/drawing/2014/main" id="{A93ACF4C-E9B0-426E-B719-A441974AD9CE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2"/>
          <a:srcRect l="14573" r="421"/>
          <a:stretch/>
        </p:blipFill>
        <p:spPr>
          <a:xfrm>
            <a:off x="4614953" y="0"/>
            <a:ext cx="7585924" cy="5949573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6792103-5290-4FE5-BC05-219637B376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6255" y="1705023"/>
            <a:ext cx="1077203" cy="4181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64C9CC-E38A-467A-8F1C-459375F5E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582" y="1536635"/>
            <a:ext cx="5690680" cy="1517356"/>
          </a:xfrm>
        </p:spPr>
        <p:txBody>
          <a:bodyPr/>
          <a:lstStyle/>
          <a:p>
            <a:r>
              <a:rPr lang="en-US" sz="5500" b="1" dirty="0"/>
              <a:t>Airbnb </a:t>
            </a:r>
            <a:br>
              <a:rPr lang="en-US" sz="5500" b="1" dirty="0"/>
            </a:br>
            <a:r>
              <a:rPr lang="en-US" sz="5500" b="1" dirty="0"/>
              <a:t>Listing Analysis </a:t>
            </a:r>
            <a:endParaRPr lang="ru-RU" sz="5500" b="1" dirty="0"/>
          </a:p>
        </p:txBody>
      </p:sp>
    </p:spTree>
    <p:extLst>
      <p:ext uri="{BB962C8B-B14F-4D97-AF65-F5344CB8AC3E}">
        <p14:creationId xmlns:p14="http://schemas.microsoft.com/office/powerpoint/2010/main" val="16500126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>
            <a:extLst>
              <a:ext uri="{FF2B5EF4-FFF2-40B4-BE49-F238E27FC236}">
                <a16:creationId xmlns:a16="http://schemas.microsoft.com/office/drawing/2014/main" id="{04AD7549-0959-4850-AF15-93D394B0043C}"/>
              </a:ext>
            </a:extLst>
          </p:cNvPr>
          <p:cNvSpPr txBox="1">
            <a:spLocks/>
          </p:cNvSpPr>
          <p:nvPr/>
        </p:nvSpPr>
        <p:spPr>
          <a:xfrm>
            <a:off x="2051304" y="282175"/>
            <a:ext cx="3566831" cy="782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MPOSITION</a:t>
            </a:r>
            <a:endParaRPr lang="ru-RU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153601F-876D-4467-9BA9-F83E3C71396D}"/>
              </a:ext>
            </a:extLst>
          </p:cNvPr>
          <p:cNvSpPr txBox="1">
            <a:spLocks/>
          </p:cNvSpPr>
          <p:nvPr/>
        </p:nvSpPr>
        <p:spPr>
          <a:xfrm>
            <a:off x="6228097" y="530672"/>
            <a:ext cx="5963903" cy="1068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00" dirty="0"/>
              <a:t>Most common is one bedroom + one bathroom.</a:t>
            </a:r>
          </a:p>
          <a:p>
            <a:r>
              <a:rPr lang="en-US" sz="1700" dirty="0"/>
              <a:t>Interestingly, some private room offer more bathroom    than bedroom.</a:t>
            </a:r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FAF67EE-7F2C-4E51-8C85-1C1948C62B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5425" y="931464"/>
            <a:ext cx="3166989" cy="32385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321A353-1236-42E0-ABC3-F73DB0E552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1087" y="1714102"/>
            <a:ext cx="5545972" cy="39289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16C697E-8EA3-4198-B788-6FB945CB73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545" y="1714102"/>
            <a:ext cx="5545972" cy="39289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4" name="Text Placeholder 23">
            <a:extLst>
              <a:ext uri="{FF2B5EF4-FFF2-40B4-BE49-F238E27FC236}">
                <a16:creationId xmlns:a16="http://schemas.microsoft.com/office/drawing/2014/main" id="{411F8DCF-CD34-469B-BF5F-4562FBB09E59}"/>
              </a:ext>
            </a:extLst>
          </p:cNvPr>
          <p:cNvSpPr txBox="1">
            <a:spLocks/>
          </p:cNvSpPr>
          <p:nvPr/>
        </p:nvSpPr>
        <p:spPr>
          <a:xfrm>
            <a:off x="2322531" y="5855253"/>
            <a:ext cx="2365713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5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500" dirty="0"/>
              <a:t>Number of Bedroom</a:t>
            </a:r>
            <a:endParaRPr lang="ko-KR" altLang="en-US" sz="1500" dirty="0"/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60D1524A-4714-40AC-9331-2461107D2A34}"/>
              </a:ext>
            </a:extLst>
          </p:cNvPr>
          <p:cNvSpPr txBox="1">
            <a:spLocks/>
          </p:cNvSpPr>
          <p:nvPr/>
        </p:nvSpPr>
        <p:spPr>
          <a:xfrm>
            <a:off x="8255433" y="5855253"/>
            <a:ext cx="2365713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5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500" dirty="0"/>
              <a:t>Number of Bathroom</a:t>
            </a:r>
            <a:endParaRPr lang="ko-KR" altLang="en-US" sz="1500" dirty="0"/>
          </a:p>
        </p:txBody>
      </p:sp>
    </p:spTree>
    <p:extLst>
      <p:ext uri="{BB962C8B-B14F-4D97-AF65-F5344CB8AC3E}">
        <p14:creationId xmlns:p14="http://schemas.microsoft.com/office/powerpoint/2010/main" val="34561942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39155-1F5E-4F48-B50E-F00D8FC53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WORD</a:t>
            </a:r>
            <a:endParaRPr lang="ru-RU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EADA895-8AB3-4980-8344-1260FD06EA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731" y="3720591"/>
            <a:ext cx="2468986" cy="2573286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A842EE4-42B9-45EC-A0D4-F64BF62EA2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537" y="3722065"/>
            <a:ext cx="2438642" cy="2556219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32FBDB3-B6CA-49E2-9A03-EA0191D24C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7670" y="3712842"/>
            <a:ext cx="2494074" cy="2556218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5A273C2-41B2-49F7-B50C-8BBD498E75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41386" y="3712842"/>
            <a:ext cx="2388973" cy="2580940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1372927-CA3A-4179-BE65-DB661B6E1A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95351" y="2466508"/>
            <a:ext cx="1501583" cy="8488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624B942-7C45-42A9-A36C-1BF1C1F0D6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08565" y="2354913"/>
            <a:ext cx="1044255" cy="9529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8CAC835-E24E-4492-8846-DEEB306B1B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66437" y="2370127"/>
            <a:ext cx="1044255" cy="93772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24E00E1-CAA6-492B-8ED8-7203A38215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22323" y="2422192"/>
            <a:ext cx="1641690" cy="83359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40283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F376A-E223-4BA9-9562-82BE324B0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050518" cy="94549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/>
              <a:t>FINDING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E9C7D66-6E2C-41F2-A2A6-B68B04DDCF97}"/>
              </a:ext>
            </a:extLst>
          </p:cNvPr>
          <p:cNvGrpSpPr/>
          <p:nvPr/>
        </p:nvGrpSpPr>
        <p:grpSpPr>
          <a:xfrm>
            <a:off x="1084100" y="2550071"/>
            <a:ext cx="9071784" cy="2129814"/>
            <a:chOff x="1084100" y="2774797"/>
            <a:chExt cx="9071784" cy="2129814"/>
          </a:xfrm>
        </p:grpSpPr>
        <p:sp>
          <p:nvSpPr>
            <p:cNvPr id="14" name="Rectangle: Diagonal Corners Rounded 13">
              <a:extLst>
                <a:ext uri="{FF2B5EF4-FFF2-40B4-BE49-F238E27FC236}">
                  <a16:creationId xmlns:a16="http://schemas.microsoft.com/office/drawing/2014/main" id="{ABF5E5C6-52E7-461C-B491-0DD53C2C8995}"/>
                </a:ext>
              </a:extLst>
            </p:cNvPr>
            <p:cNvSpPr/>
            <p:nvPr/>
          </p:nvSpPr>
          <p:spPr>
            <a:xfrm>
              <a:off x="1586665" y="2774797"/>
              <a:ext cx="1264141" cy="1264141"/>
            </a:xfrm>
            <a:prstGeom prst="round2DiagRect">
              <a:avLst>
                <a:gd name="adj1" fmla="val 29727"/>
                <a:gd name="adj2" fmla="val 0"/>
              </a:avLst>
            </a:prstGeom>
          </p:spPr>
          <p:style>
            <a:lnRef idx="0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Rectangle 15" descr="City">
              <a:extLst>
                <a:ext uri="{FF2B5EF4-FFF2-40B4-BE49-F238E27FC236}">
                  <a16:creationId xmlns:a16="http://schemas.microsoft.com/office/drawing/2014/main" id="{6E697BE4-4950-4705-8BC8-22726BA81A91}"/>
                </a:ext>
              </a:extLst>
            </p:cNvPr>
            <p:cNvSpPr/>
            <p:nvPr/>
          </p:nvSpPr>
          <p:spPr>
            <a:xfrm>
              <a:off x="1856072" y="3044204"/>
              <a:ext cx="725326" cy="725326"/>
            </a:xfrm>
            <a:prstGeom prst="rect">
              <a:avLst/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C5AB9DC-1C6C-4855-A6A1-7C1345AED044}"/>
                </a:ext>
              </a:extLst>
            </p:cNvPr>
            <p:cNvSpPr/>
            <p:nvPr/>
          </p:nvSpPr>
          <p:spPr>
            <a:xfrm>
              <a:off x="1084100" y="4432686"/>
              <a:ext cx="2142526" cy="471925"/>
            </a:xfrm>
            <a:custGeom>
              <a:avLst/>
              <a:gdLst>
                <a:gd name="connsiteX0" fmla="*/ 0 w 2072362"/>
                <a:gd name="connsiteY0" fmla="*/ 0 h 471925"/>
                <a:gd name="connsiteX1" fmla="*/ 2072362 w 2072362"/>
                <a:gd name="connsiteY1" fmla="*/ 0 h 471925"/>
                <a:gd name="connsiteX2" fmla="*/ 2072362 w 2072362"/>
                <a:gd name="connsiteY2" fmla="*/ 471925 h 471925"/>
                <a:gd name="connsiteX3" fmla="*/ 0 w 2072362"/>
                <a:gd name="connsiteY3" fmla="*/ 471925 h 471925"/>
                <a:gd name="connsiteX4" fmla="*/ 0 w 2072362"/>
                <a:gd name="connsiteY4" fmla="*/ 0 h 47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2362" h="471925">
                  <a:moveTo>
                    <a:pt x="0" y="0"/>
                  </a:moveTo>
                  <a:lnTo>
                    <a:pt x="2072362" y="0"/>
                  </a:lnTo>
                  <a:lnTo>
                    <a:pt x="2072362" y="471925"/>
                  </a:lnTo>
                  <a:lnTo>
                    <a:pt x="0" y="47192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altLang="ko-KR" sz="1500" b="1" kern="1200" dirty="0">
                  <a:solidFill>
                    <a:srgbClr val="FF0000"/>
                  </a:solidFill>
                </a:rPr>
                <a:t>NEW YORK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altLang="ko-KR" sz="1200" b="1" kern="1200" dirty="0">
                  <a:solidFill>
                    <a:schemeClr val="accent3">
                      <a:lumMod val="75000"/>
                    </a:schemeClr>
                  </a:solidFill>
                </a:rPr>
                <a:t> 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altLang="ko-KR" sz="1200" b="1" kern="1200" dirty="0">
                  <a:solidFill>
                    <a:schemeClr val="accent3">
                      <a:lumMod val="75000"/>
                    </a:schemeClr>
                  </a:solidFill>
                </a:rPr>
                <a:t>Place to experience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altLang="ko-KR" sz="1200" b="1" kern="1200" dirty="0">
                  <a:solidFill>
                    <a:schemeClr val="accent3">
                      <a:lumMod val="75000"/>
                    </a:schemeClr>
                  </a:solidFill>
                </a:rPr>
                <a:t> busy city in private way </a:t>
              </a:r>
              <a:endParaRPr lang="en-US" sz="1200" b="1" kern="1200" dirty="0"/>
            </a:p>
          </p:txBody>
        </p:sp>
        <p:sp>
          <p:nvSpPr>
            <p:cNvPr id="20" name="Rectangle: Diagonal Corners Rounded 19">
              <a:extLst>
                <a:ext uri="{FF2B5EF4-FFF2-40B4-BE49-F238E27FC236}">
                  <a16:creationId xmlns:a16="http://schemas.microsoft.com/office/drawing/2014/main" id="{0EDD28F4-6D47-4EA7-8005-CA4FFFA9DC8E}"/>
                </a:ext>
              </a:extLst>
            </p:cNvPr>
            <p:cNvSpPr/>
            <p:nvPr/>
          </p:nvSpPr>
          <p:spPr>
            <a:xfrm>
              <a:off x="4021691" y="2817790"/>
              <a:ext cx="1264141" cy="1264141"/>
            </a:xfrm>
            <a:prstGeom prst="round2DiagRect">
              <a:avLst>
                <a:gd name="adj1" fmla="val 29727"/>
                <a:gd name="adj2" fmla="val 0"/>
              </a:avLst>
            </a:prstGeom>
          </p:spPr>
          <p:style>
            <a:lnRef idx="0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Rectangle 23" descr="Suburban scene">
              <a:extLst>
                <a:ext uri="{FF2B5EF4-FFF2-40B4-BE49-F238E27FC236}">
                  <a16:creationId xmlns:a16="http://schemas.microsoft.com/office/drawing/2014/main" id="{8E4A0955-599F-48DD-8245-E6538D1C623C}"/>
                </a:ext>
              </a:extLst>
            </p:cNvPr>
            <p:cNvSpPr/>
            <p:nvPr/>
          </p:nvSpPr>
          <p:spPr>
            <a:xfrm>
              <a:off x="4291098" y="3087197"/>
              <a:ext cx="725326" cy="725326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D9A5B22-8CDE-44A4-8578-3C277D30C6B5}"/>
                </a:ext>
              </a:extLst>
            </p:cNvPr>
            <p:cNvSpPr/>
            <p:nvPr/>
          </p:nvSpPr>
          <p:spPr>
            <a:xfrm>
              <a:off x="3506053" y="4445604"/>
              <a:ext cx="2310520" cy="299951"/>
            </a:xfrm>
            <a:custGeom>
              <a:avLst/>
              <a:gdLst>
                <a:gd name="connsiteX0" fmla="*/ 0 w 2072362"/>
                <a:gd name="connsiteY0" fmla="*/ 0 h 299951"/>
                <a:gd name="connsiteX1" fmla="*/ 2072362 w 2072362"/>
                <a:gd name="connsiteY1" fmla="*/ 0 h 299951"/>
                <a:gd name="connsiteX2" fmla="*/ 2072362 w 2072362"/>
                <a:gd name="connsiteY2" fmla="*/ 299951 h 299951"/>
                <a:gd name="connsiteX3" fmla="*/ 0 w 2072362"/>
                <a:gd name="connsiteY3" fmla="*/ 299951 h 299951"/>
                <a:gd name="connsiteX4" fmla="*/ 0 w 2072362"/>
                <a:gd name="connsiteY4" fmla="*/ 0 h 29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2362" h="299951">
                  <a:moveTo>
                    <a:pt x="0" y="0"/>
                  </a:moveTo>
                  <a:lnTo>
                    <a:pt x="2072362" y="0"/>
                  </a:lnTo>
                  <a:lnTo>
                    <a:pt x="2072362" y="299951"/>
                  </a:lnTo>
                  <a:lnTo>
                    <a:pt x="0" y="29995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cap="all"/>
              </a:pPr>
              <a:r>
                <a:rPr lang="en-US" altLang="ko-KR" sz="1500" b="1" dirty="0">
                  <a:solidFill>
                    <a:srgbClr val="FF0000"/>
                  </a:solidFill>
                </a:rPr>
                <a:t>SAN FRANCISCO</a:t>
              </a:r>
            </a:p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cap="all"/>
              </a:pPr>
              <a:r>
                <a:rPr lang="en-US" altLang="ko-KR" sz="1200" b="1" cap="all" dirty="0">
                  <a:solidFill>
                    <a:srgbClr val="D30F64">
                      <a:lumMod val="75000"/>
                    </a:srgbClr>
                  </a:solidFill>
                </a:rPr>
                <a:t> 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cap="all"/>
              </a:pPr>
              <a:r>
                <a:rPr lang="en-US" altLang="ko-KR" sz="1200" b="1" cap="all" dirty="0">
                  <a:solidFill>
                    <a:srgbClr val="D30F64">
                      <a:lumMod val="75000"/>
                    </a:srgbClr>
                  </a:solidFill>
                </a:rPr>
                <a:t>Place for family vacation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cap="all"/>
              </a:pPr>
              <a:r>
                <a:rPr lang="en-US" altLang="ko-KR" sz="1200" b="1" cap="all" dirty="0">
                  <a:solidFill>
                    <a:srgbClr val="D30F64">
                      <a:lumMod val="75000"/>
                    </a:srgbClr>
                  </a:solidFill>
                </a:rPr>
                <a:t> IN big house </a:t>
              </a:r>
              <a:endParaRPr lang="en-US" altLang="ko-KR" sz="1200" b="1" cap="all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  <p:sp>
          <p:nvSpPr>
            <p:cNvPr id="34" name="Rectangle: Diagonal Corners Rounded 33">
              <a:extLst>
                <a:ext uri="{FF2B5EF4-FFF2-40B4-BE49-F238E27FC236}">
                  <a16:creationId xmlns:a16="http://schemas.microsoft.com/office/drawing/2014/main" id="{76B25359-B2BF-4F4C-A659-4CB9AD9FEA31}"/>
                </a:ext>
              </a:extLst>
            </p:cNvPr>
            <p:cNvSpPr/>
            <p:nvPr/>
          </p:nvSpPr>
          <p:spPr>
            <a:xfrm>
              <a:off x="6456717" y="2774797"/>
              <a:ext cx="1264141" cy="1264141"/>
            </a:xfrm>
            <a:prstGeom prst="round2DiagRect">
              <a:avLst>
                <a:gd name="adj1" fmla="val 29727"/>
                <a:gd name="adj2" fmla="val 0"/>
              </a:avLst>
            </a:prstGeom>
          </p:spPr>
          <p:style>
            <a:lnRef idx="0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6" name="Rectangle 35" descr="Bitcoin">
              <a:extLst>
                <a:ext uri="{FF2B5EF4-FFF2-40B4-BE49-F238E27FC236}">
                  <a16:creationId xmlns:a16="http://schemas.microsoft.com/office/drawing/2014/main" id="{90175B12-0BC7-4137-8B63-E2370E520ED2}"/>
                </a:ext>
              </a:extLst>
            </p:cNvPr>
            <p:cNvSpPr/>
            <p:nvPr/>
          </p:nvSpPr>
          <p:spPr>
            <a:xfrm>
              <a:off x="6726124" y="3044204"/>
              <a:ext cx="725326" cy="725326"/>
            </a:xfrm>
            <a:prstGeom prst="rect">
              <a:avLst/>
            </a:pr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Rectangle: Diagonal Corners Rounded 41">
              <a:extLst>
                <a:ext uri="{FF2B5EF4-FFF2-40B4-BE49-F238E27FC236}">
                  <a16:creationId xmlns:a16="http://schemas.microsoft.com/office/drawing/2014/main" id="{12442F83-E967-4E5E-9B3E-67509C907A0D}"/>
                </a:ext>
              </a:extLst>
            </p:cNvPr>
            <p:cNvSpPr/>
            <p:nvPr/>
          </p:nvSpPr>
          <p:spPr>
            <a:xfrm>
              <a:off x="8891743" y="2774797"/>
              <a:ext cx="1264141" cy="1264141"/>
            </a:xfrm>
            <a:prstGeom prst="round2DiagRect">
              <a:avLst>
                <a:gd name="adj1" fmla="val 29727"/>
                <a:gd name="adj2" fmla="val 0"/>
              </a:avLst>
            </a:prstGeom>
          </p:spPr>
          <p:style>
            <a:lnRef idx="0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4" name="Rectangle 43" descr="House">
              <a:extLst>
                <a:ext uri="{FF2B5EF4-FFF2-40B4-BE49-F238E27FC236}">
                  <a16:creationId xmlns:a16="http://schemas.microsoft.com/office/drawing/2014/main" id="{EBFC5862-CCB5-4837-B241-5A2549874065}"/>
                </a:ext>
              </a:extLst>
            </p:cNvPr>
            <p:cNvSpPr/>
            <p:nvPr/>
          </p:nvSpPr>
          <p:spPr>
            <a:xfrm>
              <a:off x="9161150" y="3044204"/>
              <a:ext cx="725326" cy="725326"/>
            </a:xfrm>
            <a:prstGeom prst="rect">
              <a:avLst/>
            </a:prstGeom>
            <a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CB28A36D-6B9F-4802-AA04-36787B739D56}"/>
              </a:ext>
            </a:extLst>
          </p:cNvPr>
          <p:cNvSpPr/>
          <p:nvPr/>
        </p:nvSpPr>
        <p:spPr>
          <a:xfrm>
            <a:off x="6096000" y="4215879"/>
            <a:ext cx="2072362" cy="471925"/>
          </a:xfrm>
          <a:custGeom>
            <a:avLst/>
            <a:gdLst>
              <a:gd name="connsiteX0" fmla="*/ 0 w 2072362"/>
              <a:gd name="connsiteY0" fmla="*/ 0 h 471925"/>
              <a:gd name="connsiteX1" fmla="*/ 2072362 w 2072362"/>
              <a:gd name="connsiteY1" fmla="*/ 0 h 471925"/>
              <a:gd name="connsiteX2" fmla="*/ 2072362 w 2072362"/>
              <a:gd name="connsiteY2" fmla="*/ 471925 h 471925"/>
              <a:gd name="connsiteX3" fmla="*/ 0 w 2072362"/>
              <a:gd name="connsiteY3" fmla="*/ 471925 h 471925"/>
              <a:gd name="connsiteX4" fmla="*/ 0 w 2072362"/>
              <a:gd name="connsiteY4" fmla="*/ 0 h 47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2362" h="471925">
                <a:moveTo>
                  <a:pt x="0" y="0"/>
                </a:moveTo>
                <a:lnTo>
                  <a:pt x="2072362" y="0"/>
                </a:lnTo>
                <a:lnTo>
                  <a:pt x="2072362" y="471925"/>
                </a:lnTo>
                <a:lnTo>
                  <a:pt x="0" y="47192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cap="all"/>
            </a:pPr>
            <a:r>
              <a:rPr lang="en-US" altLang="ko-KR" sz="1500" b="1" dirty="0">
                <a:solidFill>
                  <a:srgbClr val="FF0000"/>
                </a:solidFill>
              </a:rPr>
              <a:t>SEATTLE</a:t>
            </a:r>
            <a:endParaRPr lang="en-US" altLang="ko-KR" sz="15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defRPr cap="all"/>
            </a:pPr>
            <a:r>
              <a:rPr lang="en-US" altLang="ko-KR" sz="1200" b="1" kern="1200" dirty="0">
                <a:solidFill>
                  <a:schemeClr val="accent3">
                    <a:lumMod val="75000"/>
                  </a:schemeClr>
                </a:solidFill>
              </a:rPr>
              <a:t> </a:t>
            </a:r>
          </a:p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cap="all"/>
            </a:pPr>
            <a:r>
              <a:rPr lang="en-US" altLang="ko-KR" sz="1200" b="1" dirty="0">
                <a:solidFill>
                  <a:schemeClr val="accent3">
                    <a:lumMod val="75000"/>
                  </a:schemeClr>
                </a:solidFill>
              </a:rPr>
              <a:t>Place having most</a:t>
            </a:r>
          </a:p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cap="all"/>
            </a:pPr>
            <a:r>
              <a:rPr lang="en-US" altLang="ko-KR" sz="1200" b="1" dirty="0">
                <a:solidFill>
                  <a:schemeClr val="accent3">
                    <a:lumMod val="75000"/>
                  </a:schemeClr>
                </a:solidFill>
              </a:rPr>
              <a:t> regularity </a:t>
            </a:r>
          </a:p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cap="all"/>
            </a:pPr>
            <a:r>
              <a:rPr lang="en-US" altLang="ko-KR" sz="1200" b="1" dirty="0">
                <a:solidFill>
                  <a:schemeClr val="accent3">
                    <a:lumMod val="75000"/>
                  </a:schemeClr>
                </a:solidFill>
              </a:rPr>
              <a:t>with least price </a:t>
            </a:r>
            <a:endParaRPr lang="en-US" sz="1200" b="1" kern="1200" dirty="0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D64AF1E9-8AC1-422C-BFD0-292D8B3CAFFD}"/>
              </a:ext>
            </a:extLst>
          </p:cNvPr>
          <p:cNvSpPr/>
          <p:nvPr/>
        </p:nvSpPr>
        <p:spPr>
          <a:xfrm>
            <a:off x="8565395" y="4223798"/>
            <a:ext cx="2072362" cy="471925"/>
          </a:xfrm>
          <a:custGeom>
            <a:avLst/>
            <a:gdLst>
              <a:gd name="connsiteX0" fmla="*/ 0 w 2072362"/>
              <a:gd name="connsiteY0" fmla="*/ 0 h 471925"/>
              <a:gd name="connsiteX1" fmla="*/ 2072362 w 2072362"/>
              <a:gd name="connsiteY1" fmla="*/ 0 h 471925"/>
              <a:gd name="connsiteX2" fmla="*/ 2072362 w 2072362"/>
              <a:gd name="connsiteY2" fmla="*/ 471925 h 471925"/>
              <a:gd name="connsiteX3" fmla="*/ 0 w 2072362"/>
              <a:gd name="connsiteY3" fmla="*/ 471925 h 471925"/>
              <a:gd name="connsiteX4" fmla="*/ 0 w 2072362"/>
              <a:gd name="connsiteY4" fmla="*/ 0 h 47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2362" h="471925">
                <a:moveTo>
                  <a:pt x="0" y="0"/>
                </a:moveTo>
                <a:lnTo>
                  <a:pt x="2072362" y="0"/>
                </a:lnTo>
                <a:lnTo>
                  <a:pt x="2072362" y="471925"/>
                </a:lnTo>
                <a:lnTo>
                  <a:pt x="0" y="47192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cap="all"/>
            </a:pPr>
            <a:r>
              <a:rPr lang="en-US" altLang="ko-KR" sz="1500" b="1" dirty="0">
                <a:solidFill>
                  <a:srgbClr val="FF0000"/>
                </a:solidFill>
              </a:rPr>
              <a:t>PARIS</a:t>
            </a:r>
            <a:endParaRPr lang="en-US" altLang="ko-KR" sz="1500" b="1" dirty="0">
              <a:solidFill>
                <a:schemeClr val="accent3">
                  <a:lumMod val="75000"/>
                </a:schemeClr>
              </a:solidFill>
            </a:endParaRPr>
          </a:p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cap="all"/>
            </a:pPr>
            <a:endParaRPr lang="en-US" altLang="ko-KR" sz="1200" b="1" dirty="0">
              <a:solidFill>
                <a:schemeClr val="accent3">
                  <a:lumMod val="75000"/>
                </a:schemeClr>
              </a:solidFill>
            </a:endParaRPr>
          </a:p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cap="all"/>
            </a:pPr>
            <a:r>
              <a:rPr lang="en-US" altLang="ko-KR" sz="1200" b="1" dirty="0">
                <a:solidFill>
                  <a:schemeClr val="accent3">
                    <a:lumMod val="75000"/>
                  </a:schemeClr>
                </a:solidFill>
              </a:rPr>
              <a:t>Place for </a:t>
            </a:r>
          </a:p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cap="all"/>
            </a:pPr>
            <a:r>
              <a:rPr lang="en-US" altLang="ko-KR" sz="1200" b="1" dirty="0">
                <a:solidFill>
                  <a:schemeClr val="accent3">
                    <a:lumMod val="75000"/>
                  </a:schemeClr>
                </a:solidFill>
              </a:rPr>
              <a:t>friends or  couple</a:t>
            </a:r>
          </a:p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cap="all"/>
            </a:pPr>
            <a:r>
              <a:rPr lang="en-US" altLang="ko-KR" sz="1200" b="1" dirty="0">
                <a:solidFill>
                  <a:schemeClr val="accent3">
                    <a:lumMod val="75000"/>
                  </a:schemeClr>
                </a:solidFill>
              </a:rPr>
              <a:t>IN Cozy  apartment </a:t>
            </a:r>
            <a:endParaRPr lang="en-US" sz="1200" b="1" kern="1200" dirty="0"/>
          </a:p>
        </p:txBody>
      </p:sp>
    </p:spTree>
    <p:extLst>
      <p:ext uri="{BB962C8B-B14F-4D97-AF65-F5344CB8AC3E}">
        <p14:creationId xmlns:p14="http://schemas.microsoft.com/office/powerpoint/2010/main" val="13347246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D24B6-BECF-4BE6-9971-53768392C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  <a:endParaRPr lang="ru-RU" dirty="0"/>
          </a:p>
        </p:txBody>
      </p:sp>
      <p:pic>
        <p:nvPicPr>
          <p:cNvPr id="16" name="Picture Placeholder 15" descr="Scenic View of Beach">
            <a:extLst>
              <a:ext uri="{FF2B5EF4-FFF2-40B4-BE49-F238E27FC236}">
                <a16:creationId xmlns:a16="http://schemas.microsoft.com/office/drawing/2014/main" id="{9AE9B74E-83A6-4E11-8B41-300A15318533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2"/>
          <a:srcRect l="32866" r="20338"/>
          <a:stretch/>
        </p:blipFill>
        <p:spPr>
          <a:xfrm>
            <a:off x="5245189" y="1"/>
            <a:ext cx="6943003" cy="5934621"/>
          </a:xfr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271007C-7EE7-4FBC-8A1E-A22388C42B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3696" y="5075332"/>
            <a:ext cx="4053672" cy="512418"/>
          </a:xfrm>
        </p:spPr>
        <p:txBody>
          <a:bodyPr/>
          <a:lstStyle/>
          <a:p>
            <a:r>
              <a:rPr lang="en-US" altLang="ko-KR" sz="3000" dirty="0"/>
              <a:t>IT’S TIME TO TRAVEL !!!</a:t>
            </a:r>
            <a:endParaRPr lang="ko-KR" altLang="en-US" sz="30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D4C8429-4F05-47A7-94BC-DFF5C6A49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4745" y="3284672"/>
            <a:ext cx="1647825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6635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EBC1A8D-E693-4704-8E11-5AAB4B40BA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TA SOURCE</a:t>
            </a:r>
            <a:endParaRPr lang="ru-RU" dirty="0"/>
          </a:p>
        </p:txBody>
      </p:sp>
      <p:pic>
        <p:nvPicPr>
          <p:cNvPr id="10" name="Picture Placeholder 9" descr="Cottages In The Middle Of Beach">
            <a:extLst>
              <a:ext uri="{FF2B5EF4-FFF2-40B4-BE49-F238E27FC236}">
                <a16:creationId xmlns:a16="http://schemas.microsoft.com/office/drawing/2014/main" id="{262D17B0-1557-47A2-A8D6-91730FF9DB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-70" t="43102" r="70" b="22996"/>
          <a:stretch/>
        </p:blipFill>
        <p:spPr>
          <a:xfrm>
            <a:off x="912412" y="2373273"/>
            <a:ext cx="11271651" cy="2549580"/>
          </a:xfrm>
        </p:spPr>
      </p:pic>
      <p:sp>
        <p:nvSpPr>
          <p:cNvPr id="5" name="Subtitle 4">
            <a:extLst>
              <a:ext uri="{FF2B5EF4-FFF2-40B4-BE49-F238E27FC236}">
                <a16:creationId xmlns:a16="http://schemas.microsoft.com/office/drawing/2014/main" id="{18F92ECC-81D7-46DF-AF27-3388655CE4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99587" y="3049621"/>
            <a:ext cx="7852283" cy="1196884"/>
          </a:xfrm>
        </p:spPr>
        <p:txBody>
          <a:bodyPr>
            <a:normAutofit fontScale="92500"/>
          </a:bodyPr>
          <a:lstStyle/>
          <a:p>
            <a:r>
              <a:rPr lang="en-US" dirty="0">
                <a:solidFill>
                  <a:srgbClr val="0070C0"/>
                </a:solidFill>
                <a:highlight>
                  <a:srgbClr val="FFFF00"/>
                </a:highlight>
              </a:rPr>
              <a:t> * Website : Airbnb</a:t>
            </a:r>
          </a:p>
          <a:p>
            <a:r>
              <a:rPr lang="en-US" dirty="0">
                <a:solidFill>
                  <a:srgbClr val="0070C0"/>
                </a:solidFill>
                <a:highlight>
                  <a:srgbClr val="FFFF00"/>
                </a:highlight>
              </a:rPr>
              <a:t> * Data : listings for each 4 City (New York, San Francisco, Seattle, Paris)</a:t>
            </a:r>
          </a:p>
          <a:p>
            <a:r>
              <a:rPr lang="en-US" dirty="0">
                <a:solidFill>
                  <a:srgbClr val="0070C0"/>
                </a:solidFill>
                <a:highlight>
                  <a:srgbClr val="FFFF00"/>
                </a:highlight>
              </a:rPr>
              <a:t> * Attributes: Rent type, Rating,</a:t>
            </a:r>
            <a:r>
              <a:rPr lang="en-US" altLang="ko-KR" dirty="0">
                <a:solidFill>
                  <a:srgbClr val="0070C0"/>
                </a:solidFill>
                <a:highlight>
                  <a:srgbClr val="FFFF00"/>
                </a:highlight>
              </a:rPr>
              <a:t> Review, Price, Composition</a:t>
            </a:r>
            <a:endParaRPr lang="ru-RU" dirty="0">
              <a:solidFill>
                <a:schemeClr val="bg1">
                  <a:lumMod val="9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872118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18" descr="Colorful cliff city near ocean shore">
            <a:extLst>
              <a:ext uri="{FF2B5EF4-FFF2-40B4-BE49-F238E27FC236}">
                <a16:creationId xmlns:a16="http://schemas.microsoft.com/office/drawing/2014/main" id="{74ED1216-A221-4C9B-B39B-71A3E4D9E40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/>
          <a:srcRect t="13230" b="13230"/>
          <a:stretch/>
        </p:blipFill>
        <p:spPr>
          <a:xfrm>
            <a:off x="0" y="0"/>
            <a:ext cx="12190660" cy="5734372"/>
          </a:xfrm>
        </p:spPr>
      </p:pic>
      <p:sp>
        <p:nvSpPr>
          <p:cNvPr id="9" name="Subtitle 4">
            <a:extLst>
              <a:ext uri="{FF2B5EF4-FFF2-40B4-BE49-F238E27FC236}">
                <a16:creationId xmlns:a16="http://schemas.microsoft.com/office/drawing/2014/main" id="{59E3014C-DC86-458A-A66C-103C7A3A70EE}"/>
              </a:ext>
            </a:extLst>
          </p:cNvPr>
          <p:cNvSpPr txBox="1">
            <a:spLocks/>
          </p:cNvSpPr>
          <p:nvPr/>
        </p:nvSpPr>
        <p:spPr>
          <a:xfrm>
            <a:off x="8686225" y="914399"/>
            <a:ext cx="3355958" cy="4432515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0" b="1" dirty="0">
                <a:solidFill>
                  <a:schemeClr val="bg1">
                    <a:lumMod val="95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sz="12000" b="1" dirty="0">
                <a:solidFill>
                  <a:srgbClr val="0070C0"/>
                </a:solidFill>
                <a:highlight>
                  <a:srgbClr val="FFFF00"/>
                </a:highlight>
              </a:rPr>
              <a:t>** CONTENTS **</a:t>
            </a:r>
          </a:p>
          <a:p>
            <a:endParaRPr lang="en-US" sz="12000" b="1" dirty="0">
              <a:solidFill>
                <a:srgbClr val="0070C0"/>
              </a:solidFill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US" sz="10000" b="1" dirty="0">
                <a:solidFill>
                  <a:srgbClr val="0070C0"/>
                </a:solidFill>
                <a:highlight>
                  <a:srgbClr val="FFFF00"/>
                </a:highlight>
              </a:rPr>
              <a:t> * Rent Type</a:t>
            </a:r>
          </a:p>
          <a:p>
            <a:pPr marL="0" indent="0">
              <a:buNone/>
            </a:pPr>
            <a:r>
              <a:rPr lang="en-US" sz="10000" b="1" dirty="0">
                <a:solidFill>
                  <a:srgbClr val="0070C0"/>
                </a:solidFill>
                <a:highlight>
                  <a:srgbClr val="FFFF00"/>
                </a:highlight>
              </a:rPr>
              <a:t> * Super Host</a:t>
            </a:r>
          </a:p>
          <a:p>
            <a:pPr marL="0" indent="0">
              <a:buNone/>
            </a:pPr>
            <a:r>
              <a:rPr lang="en-US" sz="10000" b="1" dirty="0">
                <a:solidFill>
                  <a:srgbClr val="0070C0"/>
                </a:solidFill>
                <a:highlight>
                  <a:srgbClr val="FFFF00"/>
                </a:highlight>
              </a:rPr>
              <a:t> * Review &amp; Rating</a:t>
            </a:r>
          </a:p>
          <a:p>
            <a:pPr marL="0" indent="0">
              <a:buNone/>
            </a:pPr>
            <a:r>
              <a:rPr lang="en-US" sz="10000" b="1" dirty="0">
                <a:solidFill>
                  <a:srgbClr val="0070C0"/>
                </a:solidFill>
                <a:highlight>
                  <a:srgbClr val="FFFF00"/>
                </a:highlight>
              </a:rPr>
              <a:t> * Guest Number</a:t>
            </a:r>
          </a:p>
          <a:p>
            <a:pPr marL="0" indent="0">
              <a:buNone/>
            </a:pPr>
            <a:r>
              <a:rPr lang="en-US" sz="10000" b="1" dirty="0">
                <a:solidFill>
                  <a:srgbClr val="0070C0"/>
                </a:solidFill>
                <a:highlight>
                  <a:srgbClr val="FFFF00"/>
                </a:highlight>
              </a:rPr>
              <a:t> * Price</a:t>
            </a:r>
          </a:p>
          <a:p>
            <a:pPr marL="0" indent="0">
              <a:buNone/>
            </a:pPr>
            <a:r>
              <a:rPr lang="en-US" sz="10000" b="1" dirty="0">
                <a:solidFill>
                  <a:srgbClr val="0070C0"/>
                </a:solidFill>
                <a:highlight>
                  <a:srgbClr val="FFFF00"/>
                </a:highlight>
              </a:rPr>
              <a:t> * Composition</a:t>
            </a:r>
          </a:p>
          <a:p>
            <a:pPr marL="0" indent="0">
              <a:buNone/>
            </a:pPr>
            <a:r>
              <a:rPr lang="en-US" sz="10000" b="1" dirty="0">
                <a:solidFill>
                  <a:srgbClr val="0070C0"/>
                </a:solidFill>
                <a:highlight>
                  <a:srgbClr val="FFFF00"/>
                </a:highlight>
              </a:rPr>
              <a:t> * Key Word</a:t>
            </a:r>
          </a:p>
          <a:p>
            <a:pPr marL="0" indent="0">
              <a:buNone/>
            </a:pPr>
            <a:r>
              <a:rPr lang="en-US" sz="10000" b="1" dirty="0">
                <a:solidFill>
                  <a:srgbClr val="0070C0"/>
                </a:solidFill>
                <a:highlight>
                  <a:srgbClr val="FFFF00"/>
                </a:highlight>
              </a:rPr>
              <a:t> * Findings</a:t>
            </a:r>
          </a:p>
          <a:p>
            <a:endParaRPr lang="en-US" dirty="0">
              <a:solidFill>
                <a:srgbClr val="0070C0"/>
              </a:solidFill>
            </a:endParaRPr>
          </a:p>
          <a:p>
            <a:endParaRPr lang="ru-RU" dirty="0">
              <a:solidFill>
                <a:schemeClr val="bg1">
                  <a:lumMod val="9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35360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8EE8B-1608-4FFC-96B5-595AB97B8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NT TYP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1093FF-1360-4523-8547-5192EDA8BB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57996" y="2065973"/>
            <a:ext cx="3590079" cy="639683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More apartments in NY &amp; PA.</a:t>
            </a:r>
          </a:p>
          <a:p>
            <a:r>
              <a:rPr lang="en-US" dirty="0"/>
              <a:t>More houses in SF &amp; SEA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46C56E-82FC-4B02-954F-3AFACF2E8C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NY </a:t>
            </a:r>
            <a:r>
              <a:rPr lang="en-US" dirty="0"/>
              <a:t>: Mostly mixture of apartment and private room</a:t>
            </a:r>
          </a:p>
          <a:p>
            <a:pPr marL="0" indent="0">
              <a:buNone/>
            </a:pPr>
            <a:r>
              <a:rPr lang="en-US" dirty="0"/>
              <a:t>            Highest rate in private room among 4</a:t>
            </a:r>
          </a:p>
          <a:p>
            <a:endParaRPr lang="en-US" dirty="0"/>
          </a:p>
          <a:p>
            <a:r>
              <a:rPr lang="en-US" b="1" dirty="0"/>
              <a:t>SF</a:t>
            </a:r>
            <a:r>
              <a:rPr lang="en-US" dirty="0"/>
              <a:t> : House type rather than apartment</a:t>
            </a:r>
          </a:p>
          <a:p>
            <a:pPr marL="0" indent="0">
              <a:buNone/>
            </a:pPr>
            <a:r>
              <a:rPr lang="en-US" dirty="0"/>
              <a:t>            Lowest rate in apartment among 4</a:t>
            </a:r>
          </a:p>
          <a:p>
            <a:endParaRPr lang="en-US" dirty="0"/>
          </a:p>
          <a:p>
            <a:r>
              <a:rPr lang="en-US" b="1" dirty="0"/>
              <a:t>SEA</a:t>
            </a:r>
            <a:r>
              <a:rPr lang="en-US" dirty="0"/>
              <a:t> : Types are regularly distributed</a:t>
            </a:r>
          </a:p>
          <a:p>
            <a:pPr marL="0" indent="0">
              <a:buNone/>
            </a:pPr>
            <a:r>
              <a:rPr lang="en-US" dirty="0"/>
              <a:t>              Highest rate in condominium among 4</a:t>
            </a:r>
          </a:p>
          <a:p>
            <a:endParaRPr lang="en-US" dirty="0"/>
          </a:p>
          <a:p>
            <a:r>
              <a:rPr lang="en-US" b="1" dirty="0"/>
              <a:t>PA</a:t>
            </a:r>
            <a:r>
              <a:rPr lang="en-US" dirty="0"/>
              <a:t> : Mostly apartment </a:t>
            </a:r>
          </a:p>
          <a:p>
            <a:pPr marL="0" indent="0">
              <a:buNone/>
            </a:pPr>
            <a:r>
              <a:rPr lang="en-US" dirty="0"/>
              <a:t>            Highest rate in apartment among 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3F41B9-CDD2-4DAB-9FE1-AA9A8E0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8E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A FOOTER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8ED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8985B64-A92D-479A-8F9F-2555F12CE9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515" y="812249"/>
            <a:ext cx="5742939" cy="52335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66898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8EE8B-1608-4FFC-96B5-595AB97B8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284" y="282176"/>
            <a:ext cx="3566831" cy="782638"/>
          </a:xfrm>
        </p:spPr>
        <p:txBody>
          <a:bodyPr/>
          <a:lstStyle/>
          <a:p>
            <a:r>
              <a:rPr lang="en-US" dirty="0"/>
              <a:t>SUPER HOST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1093FF-1360-4523-8547-5192EDA8BB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10023" y="2282950"/>
            <a:ext cx="4548187" cy="639683"/>
          </a:xfrm>
        </p:spPr>
        <p:txBody>
          <a:bodyPr/>
          <a:lstStyle/>
          <a:p>
            <a:r>
              <a:rPr lang="en-US" dirty="0"/>
              <a:t>Lorem ipsum dolor sit amet,</a:t>
            </a:r>
            <a:br>
              <a:rPr lang="en-US" dirty="0"/>
            </a:br>
            <a:r>
              <a:rPr lang="en-US" dirty="0"/>
              <a:t>constituter adipescent eli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0717D7-5C2A-4949-8C4B-E7228889D6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120" y="1445815"/>
            <a:ext cx="3908793" cy="428080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5983506-ED32-41E0-965A-8CF68BB34C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9834" y="1445814"/>
            <a:ext cx="5563781" cy="428081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633E38D-9978-47B0-ACD6-CD0295AB4A94}"/>
              </a:ext>
            </a:extLst>
          </p:cNvPr>
          <p:cNvSpPr txBox="1">
            <a:spLocks/>
          </p:cNvSpPr>
          <p:nvPr/>
        </p:nvSpPr>
        <p:spPr>
          <a:xfrm>
            <a:off x="6166105" y="491693"/>
            <a:ext cx="5108912" cy="63968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ighest rate of Super Host in SF.</a:t>
            </a:r>
          </a:p>
          <a:p>
            <a:r>
              <a:rPr lang="en-US" dirty="0"/>
              <a:t>Highest rate of Super Host in house type.</a:t>
            </a:r>
          </a:p>
        </p:txBody>
      </p:sp>
      <p:pic>
        <p:nvPicPr>
          <p:cNvPr id="14" name="Picture 54" descr="wb01753_">
            <a:extLst>
              <a:ext uri="{FF2B5EF4-FFF2-40B4-BE49-F238E27FC236}">
                <a16:creationId xmlns:a16="http://schemas.microsoft.com/office/drawing/2014/main" id="{640783F1-021F-4C91-9FAF-861CA7AA76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1907582" y="4994457"/>
            <a:ext cx="796871" cy="38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BFFA63D-EE15-4001-8633-1A44807FBE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5425" y="931464"/>
            <a:ext cx="3166989" cy="32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168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39155-1F5E-4F48-B50E-F00D8FC53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&amp; RATING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EE48EC-430B-4D42-9565-527E52286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124" y="4976113"/>
            <a:ext cx="549442" cy="365125"/>
          </a:xfrm>
        </p:spPr>
        <p:txBody>
          <a:bodyPr/>
          <a:lstStyle/>
          <a:p>
            <a:fld id="{D495E168-DA5E-4888-8D8A-92B118324C14}" type="slidenum">
              <a:rPr lang="ru-RU" smtClean="0"/>
              <a:pPr/>
              <a:t>6</a:t>
            </a:fld>
            <a:endParaRPr lang="ru-RU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8F6D405-4600-4D2E-87D2-F06698AA44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351" y="2692578"/>
            <a:ext cx="3861252" cy="36289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8278A92-65B6-42EA-8583-FEFC2C573ACD}"/>
              </a:ext>
            </a:extLst>
          </p:cNvPr>
          <p:cNvSpPr/>
          <p:nvPr/>
        </p:nvSpPr>
        <p:spPr>
          <a:xfrm>
            <a:off x="515318" y="3247131"/>
            <a:ext cx="565689" cy="20922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dirty="0">
                <a:solidFill>
                  <a:srgbClr val="FF0000"/>
                </a:solidFill>
                <a:latin typeface="Arial Rounded MT Bold" panose="020F0704030504030204" pitchFamily="34" charset="0"/>
              </a:rPr>
              <a:t>4.74</a:t>
            </a:r>
            <a:endParaRPr lang="ko-KR" altLang="en-US" sz="1300" dirty="0">
              <a:solidFill>
                <a:srgbClr val="FF0000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DB5F726-8EC4-4B61-8614-D6193D80C0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9592" y="2692577"/>
            <a:ext cx="3756501" cy="36289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C7059BD-48CB-4731-BFA4-49341343D72F}"/>
              </a:ext>
            </a:extLst>
          </p:cNvPr>
          <p:cNvSpPr/>
          <p:nvPr/>
        </p:nvSpPr>
        <p:spPr>
          <a:xfrm>
            <a:off x="4588457" y="4896425"/>
            <a:ext cx="520324" cy="25249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dirty="0">
                <a:solidFill>
                  <a:srgbClr val="FF0000"/>
                </a:solidFill>
                <a:latin typeface="Arial Rounded MT Bold" panose="020F0704030504030204" pitchFamily="34" charset="0"/>
              </a:rPr>
              <a:t>226</a:t>
            </a:r>
            <a:endParaRPr lang="ko-KR" altLang="en-US" sz="1300" dirty="0">
              <a:solidFill>
                <a:srgbClr val="FF0000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20" name="Picture 54" descr="wb01753_">
            <a:extLst>
              <a:ext uri="{FF2B5EF4-FFF2-40B4-BE49-F238E27FC236}">
                <a16:creationId xmlns:a16="http://schemas.microsoft.com/office/drawing/2014/main" id="{798735AF-10E5-4AD5-BFA1-B15E20AE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1685836" y="6065259"/>
            <a:ext cx="716402" cy="37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54" descr="wb01753_">
            <a:extLst>
              <a:ext uri="{FF2B5EF4-FFF2-40B4-BE49-F238E27FC236}">
                <a16:creationId xmlns:a16="http://schemas.microsoft.com/office/drawing/2014/main" id="{AA01E371-84A3-4BAB-B5F2-72AFBC46EE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443348" y="6059970"/>
            <a:ext cx="593108" cy="295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2E58C09-F5E3-4371-ABEE-394D69B343AB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2044037" y="6428691"/>
            <a:ext cx="864773" cy="365125"/>
          </a:xfrm>
        </p:spPr>
        <p:txBody>
          <a:bodyPr>
            <a:normAutofit/>
          </a:bodyPr>
          <a:lstStyle/>
          <a:p>
            <a:r>
              <a:rPr lang="en-US" altLang="ko-KR" sz="1500" dirty="0"/>
              <a:t>Rating</a:t>
            </a:r>
            <a:endParaRPr lang="ko-KR" altLang="en-US" sz="1500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84918E4B-7BF3-4B7F-9281-6D173E4BA5CE}"/>
              </a:ext>
            </a:extLst>
          </p:cNvPr>
          <p:cNvSpPr txBox="1">
            <a:spLocks/>
          </p:cNvSpPr>
          <p:nvPr/>
        </p:nvSpPr>
        <p:spPr>
          <a:xfrm>
            <a:off x="5524002" y="6428691"/>
            <a:ext cx="1975485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5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500" dirty="0"/>
              <a:t>Number of Review</a:t>
            </a:r>
            <a:endParaRPr lang="ko-KR" altLang="en-US" sz="15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253D1D3-B214-462E-9542-62A60C878035}"/>
              </a:ext>
            </a:extLst>
          </p:cNvPr>
          <p:cNvSpPr txBox="1">
            <a:spLocks/>
          </p:cNvSpPr>
          <p:nvPr/>
        </p:nvSpPr>
        <p:spPr>
          <a:xfrm>
            <a:off x="831850" y="1881525"/>
            <a:ext cx="9173440" cy="63968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F has the highest rating from visitors with the least deviation.</a:t>
            </a:r>
          </a:p>
          <a:p>
            <a:r>
              <a:rPr lang="en-US" dirty="0"/>
              <a:t>PA gets the highest number of reviews meaning it has the most visitors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2BD63AD-280C-47AC-9F23-5D5A75CB63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0082" y="2692576"/>
            <a:ext cx="3434206" cy="36289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53500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39155-1F5E-4F48-B50E-F00D8FC53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EST NUMB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EE48EC-430B-4D42-9565-527E52286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5388" y="4775964"/>
            <a:ext cx="549442" cy="365125"/>
          </a:xfrm>
        </p:spPr>
        <p:txBody>
          <a:bodyPr/>
          <a:lstStyle/>
          <a:p>
            <a:fld id="{D495E168-DA5E-4888-8D8A-92B118324C14}" type="slidenum">
              <a:rPr lang="ru-RU" smtClean="0"/>
              <a:pPr/>
              <a:t>7</a:t>
            </a:fld>
            <a:endParaRPr lang="ru-RU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049CE99-2108-4BD4-9EE8-09E56974E2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0119" y="2455641"/>
            <a:ext cx="7448852" cy="42311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A7FA8FD-9AA1-4362-A0CF-6B79B8AA51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202" y="2455641"/>
            <a:ext cx="3728391" cy="42311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3" name="Callout: Right Arrow 22">
            <a:extLst>
              <a:ext uri="{FF2B5EF4-FFF2-40B4-BE49-F238E27FC236}">
                <a16:creationId xmlns:a16="http://schemas.microsoft.com/office/drawing/2014/main" id="{40A4BDDF-0912-4FCD-B429-7BA6A2B48625}"/>
              </a:ext>
            </a:extLst>
          </p:cNvPr>
          <p:cNvSpPr/>
          <p:nvPr/>
        </p:nvSpPr>
        <p:spPr>
          <a:xfrm>
            <a:off x="4737432" y="2608815"/>
            <a:ext cx="494111" cy="1281258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64977"/>
            </a:avLst>
          </a:prstGeom>
          <a:noFill/>
          <a:ln>
            <a:solidFill>
              <a:srgbClr val="A31D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0BBB1DF-71FA-4E3F-91E1-0839E3A165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3506" y="2651054"/>
            <a:ext cx="1202020" cy="117723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BF69FF5-E4C1-4B62-8D27-EF240AB9FD29}"/>
              </a:ext>
            </a:extLst>
          </p:cNvPr>
          <p:cNvSpPr/>
          <p:nvPr/>
        </p:nvSpPr>
        <p:spPr>
          <a:xfrm>
            <a:off x="5507567" y="2832436"/>
            <a:ext cx="64275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ko-KR" sz="8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NY 17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CB8171-6A20-4ED2-AD5A-A0E0BAD962C8}"/>
              </a:ext>
            </a:extLst>
          </p:cNvPr>
          <p:cNvSpPr/>
          <p:nvPr/>
        </p:nvSpPr>
        <p:spPr>
          <a:xfrm>
            <a:off x="5404606" y="3118278"/>
            <a:ext cx="64275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ko-KR" sz="8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SF 16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01322B-3826-42BB-B479-347A65626472}"/>
              </a:ext>
            </a:extLst>
          </p:cNvPr>
          <p:cNvSpPr/>
          <p:nvPr/>
        </p:nvSpPr>
        <p:spPr>
          <a:xfrm>
            <a:off x="5540185" y="3367716"/>
            <a:ext cx="4545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ko-KR" sz="8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SEA 11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7794455-61E4-44A7-BF06-3E799A8E36C8}"/>
              </a:ext>
            </a:extLst>
          </p:cNvPr>
          <p:cNvSpPr/>
          <p:nvPr/>
        </p:nvSpPr>
        <p:spPr>
          <a:xfrm>
            <a:off x="6070562" y="3080430"/>
            <a:ext cx="460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ko-KR" sz="8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PA 56%</a:t>
            </a:r>
          </a:p>
        </p:txBody>
      </p:sp>
      <p:pic>
        <p:nvPicPr>
          <p:cNvPr id="31" name="Picture 54" descr="wb01753_">
            <a:extLst>
              <a:ext uri="{FF2B5EF4-FFF2-40B4-BE49-F238E27FC236}">
                <a16:creationId xmlns:a16="http://schemas.microsoft.com/office/drawing/2014/main" id="{118F6048-70D6-4E31-9BC4-8DA5E8C3D5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923235" y="6379544"/>
            <a:ext cx="593108" cy="295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54" descr="wb01753_">
            <a:extLst>
              <a:ext uri="{FF2B5EF4-FFF2-40B4-BE49-F238E27FC236}">
                <a16:creationId xmlns:a16="http://schemas.microsoft.com/office/drawing/2014/main" id="{12253C47-0D7C-4901-8AA7-A7426F4BA4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084564" y="2678556"/>
            <a:ext cx="593108" cy="295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E2D6262-5CC4-49E5-8E84-EAB19B98B4A5}"/>
              </a:ext>
            </a:extLst>
          </p:cNvPr>
          <p:cNvSpPr txBox="1">
            <a:spLocks/>
          </p:cNvSpPr>
          <p:nvPr/>
        </p:nvSpPr>
        <p:spPr>
          <a:xfrm>
            <a:off x="953465" y="1781964"/>
            <a:ext cx="9173440" cy="63968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jority of guest number is 2, except hotel room and condominium.</a:t>
            </a:r>
          </a:p>
          <a:p>
            <a:r>
              <a:rPr lang="en-US" dirty="0"/>
              <a:t>Most apartments in PA require 2 guests.</a:t>
            </a:r>
          </a:p>
        </p:txBody>
      </p:sp>
    </p:spTree>
    <p:extLst>
      <p:ext uri="{BB962C8B-B14F-4D97-AF65-F5344CB8AC3E}">
        <p14:creationId xmlns:p14="http://schemas.microsoft.com/office/powerpoint/2010/main" val="3258297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6874A91-398F-46B0-8765-69963B921C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0902" y="1539337"/>
            <a:ext cx="6403385" cy="43169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279747B-1867-45DE-9D9F-0D41B19EB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702" y="1539337"/>
            <a:ext cx="4773478" cy="43169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D56BA2F-FDC3-427B-B192-A54F0F0C61ED}"/>
              </a:ext>
            </a:extLst>
          </p:cNvPr>
          <p:cNvSpPr/>
          <p:nvPr/>
        </p:nvSpPr>
        <p:spPr>
          <a:xfrm>
            <a:off x="1070346" y="5464152"/>
            <a:ext cx="520324" cy="178371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86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DBAE950-A329-4B6E-B551-81CA4E241FE3}"/>
              </a:ext>
            </a:extLst>
          </p:cNvPr>
          <p:cNvSpPr/>
          <p:nvPr/>
        </p:nvSpPr>
        <p:spPr>
          <a:xfrm>
            <a:off x="2113900" y="5464151"/>
            <a:ext cx="520324" cy="178371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115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9E8D08A-9624-4E16-A92A-F41193FB907B}"/>
              </a:ext>
            </a:extLst>
          </p:cNvPr>
          <p:cNvSpPr/>
          <p:nvPr/>
        </p:nvSpPr>
        <p:spPr>
          <a:xfrm>
            <a:off x="3194593" y="5464150"/>
            <a:ext cx="520324" cy="178371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68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DB1D972-E5E0-4F47-9900-5CC69BAD7F1F}"/>
              </a:ext>
            </a:extLst>
          </p:cNvPr>
          <p:cNvSpPr/>
          <p:nvPr/>
        </p:nvSpPr>
        <p:spPr>
          <a:xfrm>
            <a:off x="4252028" y="5464149"/>
            <a:ext cx="520324" cy="178371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77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71E96DE-D6C7-417F-94D2-C60E4A3F7C5A}"/>
              </a:ext>
            </a:extLst>
          </p:cNvPr>
          <p:cNvSpPr/>
          <p:nvPr/>
        </p:nvSpPr>
        <p:spPr>
          <a:xfrm>
            <a:off x="11120034" y="4604356"/>
            <a:ext cx="639669" cy="191356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85.4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22" name="Picture 54" descr="wb01753_">
            <a:extLst>
              <a:ext uri="{FF2B5EF4-FFF2-40B4-BE49-F238E27FC236}">
                <a16:creationId xmlns:a16="http://schemas.microsoft.com/office/drawing/2014/main" id="{FA612ADD-2A40-406D-8506-1748E59E83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013117" y="5630896"/>
            <a:ext cx="799825" cy="295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3C582F7-E7C4-4F42-B296-69D9FDBD384E}"/>
              </a:ext>
            </a:extLst>
          </p:cNvPr>
          <p:cNvSpPr/>
          <p:nvPr/>
        </p:nvSpPr>
        <p:spPr>
          <a:xfrm>
            <a:off x="11124799" y="4087477"/>
            <a:ext cx="639669" cy="191356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76.4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9BE9508-F01A-4160-95C7-8B4535252566}"/>
              </a:ext>
            </a:extLst>
          </p:cNvPr>
          <p:cNvSpPr/>
          <p:nvPr/>
        </p:nvSpPr>
        <p:spPr>
          <a:xfrm>
            <a:off x="11113937" y="1591568"/>
            <a:ext cx="639669" cy="191356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56.4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6B384A5-0424-40E7-BFAE-59E85A49FE66}"/>
              </a:ext>
            </a:extLst>
          </p:cNvPr>
          <p:cNvSpPr/>
          <p:nvPr/>
        </p:nvSpPr>
        <p:spPr>
          <a:xfrm>
            <a:off x="11124799" y="3563952"/>
            <a:ext cx="639669" cy="191356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104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47F2087-A598-4764-8312-E6B31ABF814A}"/>
              </a:ext>
            </a:extLst>
          </p:cNvPr>
          <p:cNvSpPr/>
          <p:nvPr/>
        </p:nvSpPr>
        <p:spPr>
          <a:xfrm>
            <a:off x="11109699" y="2517155"/>
            <a:ext cx="639669" cy="191356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85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F2E0A8B-6030-4889-B404-8CECAE4F626B}"/>
              </a:ext>
            </a:extLst>
          </p:cNvPr>
          <p:cNvSpPr/>
          <p:nvPr/>
        </p:nvSpPr>
        <p:spPr>
          <a:xfrm>
            <a:off x="11123545" y="3039695"/>
            <a:ext cx="639669" cy="191356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119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28" name="Picture 54" descr="wb01753_">
            <a:extLst>
              <a:ext uri="{FF2B5EF4-FFF2-40B4-BE49-F238E27FC236}">
                <a16:creationId xmlns:a16="http://schemas.microsoft.com/office/drawing/2014/main" id="{78BDA43D-6B02-4D68-AC21-7E873D1252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478652" y="3436421"/>
            <a:ext cx="687092" cy="295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04AD7549-0959-4850-AF15-93D394B0043C}"/>
              </a:ext>
            </a:extLst>
          </p:cNvPr>
          <p:cNvSpPr txBox="1">
            <a:spLocks/>
          </p:cNvSpPr>
          <p:nvPr/>
        </p:nvSpPr>
        <p:spPr>
          <a:xfrm>
            <a:off x="2739422" y="271975"/>
            <a:ext cx="2078994" cy="782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ICE</a:t>
            </a:r>
            <a:endParaRPr lang="ru-RU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153601F-876D-4467-9BA9-F83E3C71396D}"/>
              </a:ext>
            </a:extLst>
          </p:cNvPr>
          <p:cNvSpPr txBox="1">
            <a:spLocks/>
          </p:cNvSpPr>
          <p:nvPr/>
        </p:nvSpPr>
        <p:spPr>
          <a:xfrm>
            <a:off x="6228097" y="414930"/>
            <a:ext cx="5031421" cy="798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F has the highest price range.</a:t>
            </a:r>
          </a:p>
          <a:p>
            <a:r>
              <a:rPr lang="en-US" dirty="0"/>
              <a:t>House type has the highest price range.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FAF67EE-7F2C-4E51-8C85-1C1948C62B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5425" y="931464"/>
            <a:ext cx="3166989" cy="32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1291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153601F-876D-4467-9BA9-F83E3C71396D}"/>
              </a:ext>
            </a:extLst>
          </p:cNvPr>
          <p:cNvSpPr txBox="1">
            <a:spLocks/>
          </p:cNvSpPr>
          <p:nvPr/>
        </p:nvSpPr>
        <p:spPr>
          <a:xfrm>
            <a:off x="6228097" y="744972"/>
            <a:ext cx="5485501" cy="6396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actual price rages that are most interested    are different with mean price that hosts offer.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FAF67EE-7F2C-4E51-8C85-1C1948C62B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95425" y="931464"/>
            <a:ext cx="3166989" cy="3238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0353FD7-0D7D-46F8-9B1F-C286889D2E5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22475" y="1729791"/>
            <a:ext cx="6964726" cy="39008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2DB3B84-B4C1-453B-9BFF-1E72C24C4A7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4777" y="1714102"/>
            <a:ext cx="4367266" cy="392212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B237A5C-2E7D-4F8B-9215-A52D2CB020B0}"/>
              </a:ext>
            </a:extLst>
          </p:cNvPr>
          <p:cNvSpPr/>
          <p:nvPr/>
        </p:nvSpPr>
        <p:spPr>
          <a:xfrm>
            <a:off x="3805456" y="3791217"/>
            <a:ext cx="520324" cy="178371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73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AC2F744-394A-4170-B7BF-97466AA178FE}"/>
              </a:ext>
            </a:extLst>
          </p:cNvPr>
          <p:cNvSpPr/>
          <p:nvPr/>
        </p:nvSpPr>
        <p:spPr>
          <a:xfrm>
            <a:off x="3805456" y="2033614"/>
            <a:ext cx="520324" cy="178371"/>
          </a:xfrm>
          <a:prstGeom prst="round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$99</a:t>
            </a:r>
            <a:endParaRPr lang="ko-KR" altLang="en-US" sz="10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721AE94-4DC6-4247-8752-F6A5529C4720}"/>
              </a:ext>
            </a:extLst>
          </p:cNvPr>
          <p:cNvSpPr/>
          <p:nvPr/>
        </p:nvSpPr>
        <p:spPr>
          <a:xfrm rot="20732165">
            <a:off x="8803039" y="5203051"/>
            <a:ext cx="1030636" cy="446157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Freeform 132">
            <a:extLst>
              <a:ext uri="{FF2B5EF4-FFF2-40B4-BE49-F238E27FC236}">
                <a16:creationId xmlns:a16="http://schemas.microsoft.com/office/drawing/2014/main" id="{5C748B8E-CC92-4768-812F-D23D4C972A9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0315380" y="3406941"/>
            <a:ext cx="393700" cy="341313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66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Freeform 132">
            <a:extLst>
              <a:ext uri="{FF2B5EF4-FFF2-40B4-BE49-F238E27FC236}">
                <a16:creationId xmlns:a16="http://schemas.microsoft.com/office/drawing/2014/main" id="{4204EE56-CAD2-4B97-BC6F-8466638F2D41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7693831" y="2284737"/>
            <a:ext cx="393700" cy="341313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eform 132">
            <a:extLst>
              <a:ext uri="{FF2B5EF4-FFF2-40B4-BE49-F238E27FC236}">
                <a16:creationId xmlns:a16="http://schemas.microsoft.com/office/drawing/2014/main" id="{1D1A8799-3635-4098-B55F-21314F185DE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9300102" y="1781487"/>
            <a:ext cx="393700" cy="341313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24C5754-F939-4388-AD0E-189ED4B55DB0}"/>
              </a:ext>
            </a:extLst>
          </p:cNvPr>
          <p:cNvSpPr/>
          <p:nvPr/>
        </p:nvSpPr>
        <p:spPr>
          <a:xfrm rot="18955316">
            <a:off x="7558403" y="5310984"/>
            <a:ext cx="371959" cy="183155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98744B0-8C7A-4769-8A98-537CA8F6014C}"/>
              </a:ext>
            </a:extLst>
          </p:cNvPr>
          <p:cNvSpPr/>
          <p:nvPr/>
        </p:nvSpPr>
        <p:spPr>
          <a:xfrm rot="18955316">
            <a:off x="10048700" y="5326429"/>
            <a:ext cx="533361" cy="197948"/>
          </a:xfrm>
          <a:prstGeom prst="ellipse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Freeform 132">
            <a:extLst>
              <a:ext uri="{FF2B5EF4-FFF2-40B4-BE49-F238E27FC236}">
                <a16:creationId xmlns:a16="http://schemas.microsoft.com/office/drawing/2014/main" id="{DF415E70-7C91-4FA1-B150-BCE45C61F6E9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011138" y="4520052"/>
            <a:ext cx="393700" cy="341313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EB5E483-5A8E-4C30-84C5-2DE2AE3AA0B8}"/>
              </a:ext>
            </a:extLst>
          </p:cNvPr>
          <p:cNvSpPr/>
          <p:nvPr/>
        </p:nvSpPr>
        <p:spPr>
          <a:xfrm rot="18955316">
            <a:off x="7901551" y="5303236"/>
            <a:ext cx="371959" cy="18315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Freeform 132">
            <a:extLst>
              <a:ext uri="{FF2B5EF4-FFF2-40B4-BE49-F238E27FC236}">
                <a16:creationId xmlns:a16="http://schemas.microsoft.com/office/drawing/2014/main" id="{B9E9DCF0-E2AB-4A2B-8E5E-841E39C5377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8011138" y="2843992"/>
            <a:ext cx="393700" cy="341313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0" name="Freeform 132">
            <a:extLst>
              <a:ext uri="{FF2B5EF4-FFF2-40B4-BE49-F238E27FC236}">
                <a16:creationId xmlns:a16="http://schemas.microsoft.com/office/drawing/2014/main" id="{72D890F8-E4C3-4694-BB93-C3363C3FC38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1259167" y="2274361"/>
            <a:ext cx="393700" cy="341313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48"/>
              <a:gd name="T52" fmla="*/ 0 h 618"/>
              <a:gd name="T53" fmla="*/ 648 w 648"/>
              <a:gd name="T54" fmla="*/ 618 h 6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749DAFB-E101-4283-94A5-55F1B7A421FB}"/>
              </a:ext>
            </a:extLst>
          </p:cNvPr>
          <p:cNvSpPr/>
          <p:nvPr/>
        </p:nvSpPr>
        <p:spPr>
          <a:xfrm rot="18955316">
            <a:off x="11004377" y="5340222"/>
            <a:ext cx="487390" cy="211605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B9698B4-3AFA-4C4B-B29B-F638927F474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319897" y="3854123"/>
            <a:ext cx="393701" cy="825097"/>
          </a:xfrm>
          <a:prstGeom prst="round2DiagRect">
            <a:avLst>
              <a:gd name="adj1" fmla="val 18635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A63F66DE-5CD2-4B01-B104-85CA4BAE172C}"/>
              </a:ext>
            </a:extLst>
          </p:cNvPr>
          <p:cNvSpPr txBox="1">
            <a:spLocks/>
          </p:cNvSpPr>
          <p:nvPr/>
        </p:nvSpPr>
        <p:spPr>
          <a:xfrm>
            <a:off x="2739422" y="271975"/>
            <a:ext cx="2078994" cy="782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IC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6568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TN72s71US4P9KrTijo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TN72s71US4P9KrTijo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TN72s71US4P9KrTijo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TN72s71US4P9KrTijo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TN72s71US4P9KrTijo5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TN72s71US4P9KrTijo5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1">
      <a:dk1>
        <a:sysClr val="windowText" lastClr="000000"/>
      </a:dk1>
      <a:lt1>
        <a:sysClr val="window" lastClr="FFFFFF"/>
      </a:lt1>
      <a:dk2>
        <a:srgbClr val="0048B3"/>
      </a:dk2>
      <a:lt2>
        <a:srgbClr val="7C77B9"/>
      </a:lt2>
      <a:accent1>
        <a:srgbClr val="008EDC"/>
      </a:accent1>
      <a:accent2>
        <a:srgbClr val="7A0078"/>
      </a:accent2>
      <a:accent3>
        <a:srgbClr val="D30F64"/>
      </a:accent3>
      <a:accent4>
        <a:srgbClr val="006FC9"/>
      </a:accent4>
      <a:accent5>
        <a:srgbClr val="00FFFF"/>
      </a:accent5>
      <a:accent6>
        <a:srgbClr val="EEB902"/>
      </a:accent6>
      <a:hlink>
        <a:srgbClr val="D30F64"/>
      </a:hlink>
      <a:folHlink>
        <a:srgbClr val="D30F64"/>
      </a:folHlink>
    </a:clrScheme>
    <a:fontScheme name="Custom 7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12000">
              <a:schemeClr val="accent1"/>
            </a:gs>
            <a:gs pos="100000">
              <a:schemeClr val="accent3"/>
            </a:gs>
          </a:gsLst>
          <a:lin ang="0" scaled="1"/>
          <a:tileRect/>
        </a:gradFill>
        <a:ln w="12700" cap="flat">
          <a:noFill/>
          <a:prstDash val="solid"/>
          <a:miter/>
        </a:ln>
      </a:spPr>
      <a:bodyPr rtlCol="0" anchor="ctr"/>
      <a:lstStyle>
        <a:defPPr algn="l">
          <a:defRPr dirty="0"/>
        </a:defPPr>
      </a:lstStyle>
    </a:spDef>
  </a:objectDefaults>
  <a:extraClrSchemeLst/>
  <a:extLst>
    <a:ext uri="{05A4C25C-085E-4340-85A3-A5531E510DB2}">
      <thm15:themeFamily xmlns:thm15="http://schemas.microsoft.com/office/thememl/2012/main" name="NBPL_Fun_MO - v6" id="{A0D08BF4-A6B2-4810-A990-861B25D0A27E}" vid="{9CA1A813-01EE-4EED-9E0D-BBBA258A4E3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36</TotalTime>
  <Words>403</Words>
  <Application>Microsoft Office PowerPoint</Application>
  <PresentationFormat>Widescreen</PresentationFormat>
  <Paragraphs>97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맑은 고딕</vt:lpstr>
      <vt:lpstr>Arial</vt:lpstr>
      <vt:lpstr>Arial Rounded MT Bold</vt:lpstr>
      <vt:lpstr>Century Gothic</vt:lpstr>
      <vt:lpstr>Office Theme</vt:lpstr>
      <vt:lpstr>1_Office Theme</vt:lpstr>
      <vt:lpstr>Airbnb  Listing Analysis </vt:lpstr>
      <vt:lpstr>DATA SOURCE</vt:lpstr>
      <vt:lpstr>PowerPoint Presentation</vt:lpstr>
      <vt:lpstr>RENT TYPE</vt:lpstr>
      <vt:lpstr>SUPER HOST</vt:lpstr>
      <vt:lpstr>REVIEW &amp; RATING</vt:lpstr>
      <vt:lpstr>GUEST NUMBER</vt:lpstr>
      <vt:lpstr>PowerPoint Presentation</vt:lpstr>
      <vt:lpstr>PowerPoint Presentation</vt:lpstr>
      <vt:lpstr>PowerPoint Presentation</vt:lpstr>
      <vt:lpstr>KEY WORD</vt:lpstr>
      <vt:lpstr>FINDING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ghee Hong</dc:creator>
  <cp:lastModifiedBy>Sanghee Hong</cp:lastModifiedBy>
  <cp:revision>90</cp:revision>
  <dcterms:created xsi:type="dcterms:W3CDTF">2020-05-02T19:04:27Z</dcterms:created>
  <dcterms:modified xsi:type="dcterms:W3CDTF">2020-05-25T17:10:31Z</dcterms:modified>
</cp:coreProperties>
</file>